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5.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85.xml" ContentType="application/vnd.openxmlformats-officedocument.presentationml.tags+xml"/>
  <Override PartName="/ppt/notesSlides/notesSlide7.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55"/>
  </p:notesMasterIdLst>
  <p:sldIdLst>
    <p:sldId id="327" r:id="rId5"/>
    <p:sldId id="2147375738" r:id="rId6"/>
    <p:sldId id="2147375742" r:id="rId7"/>
    <p:sldId id="2147375744" r:id="rId8"/>
    <p:sldId id="2147375745" r:id="rId9"/>
    <p:sldId id="2147375748" r:id="rId10"/>
    <p:sldId id="2147375737" r:id="rId11"/>
    <p:sldId id="2147375752" r:id="rId12"/>
    <p:sldId id="2147375801" r:id="rId13"/>
    <p:sldId id="2147375739" r:id="rId14"/>
    <p:sldId id="2147375751" r:id="rId15"/>
    <p:sldId id="2147375804" r:id="rId16"/>
    <p:sldId id="2147375803" r:id="rId17"/>
    <p:sldId id="2147375800" r:id="rId18"/>
    <p:sldId id="2147375802" r:id="rId19"/>
    <p:sldId id="2147375799" r:id="rId20"/>
    <p:sldId id="2147375731" r:id="rId21"/>
    <p:sldId id="2147375732" r:id="rId22"/>
    <p:sldId id="2147375733" r:id="rId23"/>
    <p:sldId id="2147375734" r:id="rId24"/>
    <p:sldId id="337" r:id="rId25"/>
    <p:sldId id="338" r:id="rId26"/>
    <p:sldId id="339" r:id="rId27"/>
    <p:sldId id="340" r:id="rId28"/>
    <p:sldId id="341" r:id="rId29"/>
    <p:sldId id="342" r:id="rId30"/>
    <p:sldId id="343" r:id="rId31"/>
    <p:sldId id="344" r:id="rId32"/>
    <p:sldId id="345" r:id="rId33"/>
    <p:sldId id="346" r:id="rId34"/>
    <p:sldId id="347" r:id="rId35"/>
    <p:sldId id="348" r:id="rId36"/>
    <p:sldId id="349" r:id="rId37"/>
    <p:sldId id="350" r:id="rId38"/>
    <p:sldId id="351" r:id="rId39"/>
    <p:sldId id="357" r:id="rId40"/>
    <p:sldId id="2147375730" r:id="rId41"/>
    <p:sldId id="360" r:id="rId42"/>
    <p:sldId id="361" r:id="rId43"/>
    <p:sldId id="358" r:id="rId44"/>
    <p:sldId id="2147375749" r:id="rId45"/>
    <p:sldId id="355" r:id="rId46"/>
    <p:sldId id="2147375729" r:id="rId47"/>
    <p:sldId id="2147375725" r:id="rId48"/>
    <p:sldId id="356" r:id="rId49"/>
    <p:sldId id="2147375723" r:id="rId50"/>
    <p:sldId id="2147375726" r:id="rId51"/>
    <p:sldId id="2147375735" r:id="rId52"/>
    <p:sldId id="2147375736" r:id="rId53"/>
    <p:sldId id="380" r:id="rId54"/>
  </p:sldIdLst>
  <p:sldSz cx="12192000" cy="6858000"/>
  <p:notesSz cx="6858000" cy="9144000"/>
  <p:custDataLst>
    <p:tags r:id="rId56"/>
  </p:custDataLst>
  <p:defaultTex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1" id="{64ACFE1F-71FC-E841-A5AF-D24D4DDEF674}">
          <p14:sldIdLst>
            <p14:sldId id="327"/>
            <p14:sldId id="2147375738"/>
            <p14:sldId id="2147375742"/>
            <p14:sldId id="2147375744"/>
            <p14:sldId id="2147375745"/>
            <p14:sldId id="2147375748"/>
            <p14:sldId id="2147375737"/>
            <p14:sldId id="2147375752"/>
            <p14:sldId id="2147375801"/>
            <p14:sldId id="2147375739"/>
            <p14:sldId id="2147375751"/>
          </p14:sldIdLst>
        </p14:section>
        <p14:section name="Chapter Slides" id="{F25C8EC6-C36E-9442-96EE-14B6E97436F0}">
          <p14:sldIdLst>
            <p14:sldId id="2147375804"/>
            <p14:sldId id="2147375803"/>
            <p14:sldId id="2147375800"/>
            <p14:sldId id="2147375802"/>
            <p14:sldId id="2147375799"/>
            <p14:sldId id="2147375731"/>
            <p14:sldId id="2147375732"/>
          </p14:sldIdLst>
        </p14:section>
        <p14:section name="Layouts" id="{C065DEFC-A59F-D841-8A37-1B2A03AAED61}">
          <p14:sldIdLst>
            <p14:sldId id="2147375733"/>
            <p14:sldId id="2147375734"/>
            <p14:sldId id="337"/>
            <p14:sldId id="338"/>
            <p14:sldId id="339"/>
            <p14:sldId id="340"/>
            <p14:sldId id="341"/>
            <p14:sldId id="342"/>
            <p14:sldId id="343"/>
            <p14:sldId id="344"/>
            <p14:sldId id="345"/>
            <p14:sldId id="346"/>
            <p14:sldId id="347"/>
            <p14:sldId id="348"/>
            <p14:sldId id="349"/>
            <p14:sldId id="350"/>
            <p14:sldId id="351"/>
          </p14:sldIdLst>
        </p14:section>
        <p14:section name="Resources" id="{BF97F892-5C28-5A46-B15B-B44C6C2BDA9D}">
          <p14:sldIdLst>
            <p14:sldId id="357"/>
            <p14:sldId id="2147375730"/>
            <p14:sldId id="360"/>
            <p14:sldId id="361"/>
            <p14:sldId id="358"/>
            <p14:sldId id="2147375749"/>
            <p14:sldId id="355"/>
            <p14:sldId id="2147375729"/>
            <p14:sldId id="2147375725"/>
          </p14:sldIdLst>
        </p14:section>
        <p14:section name="Exemplary content" id="{B24945F6-325B-CC48-8340-7E96D9C36593}">
          <p14:sldIdLst>
            <p14:sldId id="356"/>
            <p14:sldId id="2147375723"/>
            <p14:sldId id="2147375726"/>
            <p14:sldId id="2147375735"/>
            <p14:sldId id="2147375736"/>
            <p14:sldId id="38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143F65-AA63-E2A7-21B9-7F03F85FB9E8}" name="Luca van Skyhawk" initials="LvS" userId="S::luca.van.skyhawk@hypatos.ai::ca582406-7256-4a16-b275-aa59cba0438e" providerId="AD"/>
  <p188:author id="{CBA2658B-331C-D476-7795-8F8B878581AE}" name="Leticia Silva" initials="LS" userId="S::leticia.silva@hypatos.ai::ae98470f-b13e-4231-82f5-fda0897d4c9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0C7D7"/>
    <a:srgbClr val="CDC1F2"/>
    <a:srgbClr val="FF0000"/>
    <a:srgbClr val="FDE7D2"/>
    <a:srgbClr val="FBF0F4"/>
    <a:srgbClr val="C6F5E9"/>
    <a:srgbClr val="F1ECFF"/>
    <a:srgbClr val="F4D0AE"/>
    <a:srgbClr val="AEE7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89A945-E419-4319-80D2-C1034673F47F}" v="5072" dt="2023-12-20T17:53:31.569"/>
  </p1510:revLst>
</p1510:revInfo>
</file>

<file path=ppt/tableStyles.xml><?xml version="1.0" encoding="utf-8"?>
<a:tblStyleLst xmlns:a="http://schemas.openxmlformats.org/drawingml/2006/main" def="{5C22544A-7EE6-4342-B048-85BDC9FD1C3A}">
  <a:tblStyle styleId="{5C22544A-7EE6-4342-B048-85BDC9FD1C3A}" styleName="Közepesen sötét stílus 2 – 1. jelölőszí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33" autoAdjust="0"/>
    <p:restoredTop sz="94660"/>
  </p:normalViewPr>
  <p:slideViewPr>
    <p:cSldViewPr snapToGrid="0">
      <p:cViewPr>
        <p:scale>
          <a:sx n="65" d="100"/>
          <a:sy n="65" d="100"/>
        </p:scale>
        <p:origin x="861" y="-24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ticia Silva" userId="ae98470f-b13e-4231-82f5-fda0897d4c9b" providerId="ADAL" clId="{7A89A945-E419-4319-80D2-C1034673F47F}"/>
    <pc:docChg chg="undo custSel modSld replTag">
      <pc:chgData name="Leticia Silva" userId="ae98470f-b13e-4231-82f5-fda0897d4c9b" providerId="ADAL" clId="{7A89A945-E419-4319-80D2-C1034673F47F}" dt="2023-12-20T17:54:03.531" v="5778" actId="13926"/>
      <pc:docMkLst>
        <pc:docMk/>
      </pc:docMkLst>
      <pc:sldChg chg="addSp modSp mod">
        <pc:chgData name="Leticia Silva" userId="ae98470f-b13e-4231-82f5-fda0897d4c9b" providerId="ADAL" clId="{7A89A945-E419-4319-80D2-C1034673F47F}" dt="2023-12-20T14:24:37.870" v="5108" actId="1076"/>
        <pc:sldMkLst>
          <pc:docMk/>
          <pc:sldMk cId="3964595047" sldId="327"/>
        </pc:sldMkLst>
        <pc:spChg chg="mod">
          <ac:chgData name="Leticia Silva" userId="ae98470f-b13e-4231-82f5-fda0897d4c9b" providerId="ADAL" clId="{7A89A945-E419-4319-80D2-C1034673F47F}" dt="2023-12-20T11:13:00.306" v="1" actId="20577"/>
          <ac:spMkLst>
            <pc:docMk/>
            <pc:sldMk cId="3964595047" sldId="327"/>
            <ac:spMk id="3" creationId="{FCCB28E9-57C2-6F42-8FC3-2BC3B58EA961}"/>
          </ac:spMkLst>
        </pc:spChg>
        <pc:picChg chg="add mod ord">
          <ac:chgData name="Leticia Silva" userId="ae98470f-b13e-4231-82f5-fda0897d4c9b" providerId="ADAL" clId="{7A89A945-E419-4319-80D2-C1034673F47F}" dt="2023-12-20T14:24:37.870" v="5108" actId="1076"/>
          <ac:picMkLst>
            <pc:docMk/>
            <pc:sldMk cId="3964595047" sldId="327"/>
            <ac:picMk id="7" creationId="{EC951480-2645-0CDF-C744-B93DA9EE6D1C}"/>
          </ac:picMkLst>
        </pc:picChg>
      </pc:sldChg>
      <pc:sldChg chg="modSp mod">
        <pc:chgData name="Leticia Silva" userId="ae98470f-b13e-4231-82f5-fda0897d4c9b" providerId="ADAL" clId="{7A89A945-E419-4319-80D2-C1034673F47F}" dt="2023-12-20T17:54:03.531" v="5778" actId="13926"/>
        <pc:sldMkLst>
          <pc:docMk/>
          <pc:sldMk cId="287634135" sldId="2147375742"/>
        </pc:sldMkLst>
        <pc:graphicFrameChg chg="mod modGraphic">
          <ac:chgData name="Leticia Silva" userId="ae98470f-b13e-4231-82f5-fda0897d4c9b" providerId="ADAL" clId="{7A89A945-E419-4319-80D2-C1034673F47F}" dt="2023-12-20T17:54:03.531" v="5778" actId="13926"/>
          <ac:graphicFrameMkLst>
            <pc:docMk/>
            <pc:sldMk cId="287634135" sldId="2147375742"/>
            <ac:graphicFrameMk id="7" creationId="{1F13A2E4-818E-9DCE-8C94-2435952FC187}"/>
          </ac:graphicFrameMkLst>
        </pc:graphicFrameChg>
      </pc:sldChg>
      <pc:sldChg chg="modSp mod">
        <pc:chgData name="Leticia Silva" userId="ae98470f-b13e-4231-82f5-fda0897d4c9b" providerId="ADAL" clId="{7A89A945-E419-4319-80D2-C1034673F47F}" dt="2023-12-20T14:25:35" v="5114" actId="14734"/>
        <pc:sldMkLst>
          <pc:docMk/>
          <pc:sldMk cId="3194976059" sldId="2147375744"/>
        </pc:sldMkLst>
        <pc:graphicFrameChg chg="modGraphic">
          <ac:chgData name="Leticia Silva" userId="ae98470f-b13e-4231-82f5-fda0897d4c9b" providerId="ADAL" clId="{7A89A945-E419-4319-80D2-C1034673F47F}" dt="2023-12-20T14:25:35" v="5114" actId="14734"/>
          <ac:graphicFrameMkLst>
            <pc:docMk/>
            <pc:sldMk cId="3194976059" sldId="2147375744"/>
            <ac:graphicFrameMk id="7" creationId="{1F13A2E4-818E-9DCE-8C94-2435952FC187}"/>
          </ac:graphicFrameMkLst>
        </pc:graphicFrameChg>
      </pc:sldChg>
      <pc:sldChg chg="modSp mod">
        <pc:chgData name="Leticia Silva" userId="ae98470f-b13e-4231-82f5-fda0897d4c9b" providerId="ADAL" clId="{7A89A945-E419-4319-80D2-C1034673F47F}" dt="2023-12-20T14:24:29.412" v="5107" actId="207"/>
        <pc:sldMkLst>
          <pc:docMk/>
          <pc:sldMk cId="3953336687" sldId="2147375752"/>
        </pc:sldMkLst>
        <pc:spChg chg="mod">
          <ac:chgData name="Leticia Silva" userId="ae98470f-b13e-4231-82f5-fda0897d4c9b" providerId="ADAL" clId="{7A89A945-E419-4319-80D2-C1034673F47F}" dt="2023-12-20T11:31:32.344" v="454" actId="20577"/>
          <ac:spMkLst>
            <pc:docMk/>
            <pc:sldMk cId="3953336687" sldId="2147375752"/>
            <ac:spMk id="6" creationId="{2E9BCB2A-E542-21B8-A7FA-E4354ABE47D2}"/>
          </ac:spMkLst>
        </pc:spChg>
        <pc:spChg chg="mod">
          <ac:chgData name="Leticia Silva" userId="ae98470f-b13e-4231-82f5-fda0897d4c9b" providerId="ADAL" clId="{7A89A945-E419-4319-80D2-C1034673F47F}" dt="2023-12-20T13:45:15.568" v="4846" actId="20577"/>
          <ac:spMkLst>
            <pc:docMk/>
            <pc:sldMk cId="3953336687" sldId="2147375752"/>
            <ac:spMk id="17" creationId="{2E8D6115-0F54-700C-E153-7C7F63A01AED}"/>
          </ac:spMkLst>
        </pc:spChg>
        <pc:spChg chg="mod">
          <ac:chgData name="Leticia Silva" userId="ae98470f-b13e-4231-82f5-fda0897d4c9b" providerId="ADAL" clId="{7A89A945-E419-4319-80D2-C1034673F47F}" dt="2023-12-20T14:24:29.412" v="5107" actId="207"/>
          <ac:spMkLst>
            <pc:docMk/>
            <pc:sldMk cId="3953336687" sldId="2147375752"/>
            <ac:spMk id="18" creationId="{2DFDA6F5-9B4B-6556-3B36-1C525CD615F3}"/>
          </ac:spMkLst>
        </pc:spChg>
      </pc:sldChg>
      <pc:sldChg chg="addSp delSp modSp mod">
        <pc:chgData name="Leticia Silva" userId="ae98470f-b13e-4231-82f5-fda0897d4c9b" providerId="ADAL" clId="{7A89A945-E419-4319-80D2-C1034673F47F}" dt="2023-12-20T17:51:36.640" v="5709"/>
        <pc:sldMkLst>
          <pc:docMk/>
          <pc:sldMk cId="1153576615" sldId="2147375801"/>
        </pc:sldMkLst>
        <pc:spChg chg="mod ord">
          <ac:chgData name="Leticia Silva" userId="ae98470f-b13e-4231-82f5-fda0897d4c9b" providerId="ADAL" clId="{7A89A945-E419-4319-80D2-C1034673F47F}" dt="2023-12-20T17:51:35.568" v="5591" actId="948"/>
          <ac:spMkLst>
            <pc:docMk/>
            <pc:sldMk cId="1153576615" sldId="2147375801"/>
            <ac:spMk id="2" creationId="{BE21EF19-570C-C27F-0965-ADAAF432A93E}"/>
          </ac:spMkLst>
        </pc:spChg>
        <pc:spChg chg="add del mod modVis">
          <ac:chgData name="Leticia Silva" userId="ae98470f-b13e-4231-82f5-fda0897d4c9b" providerId="ADAL" clId="{7A89A945-E419-4319-80D2-C1034673F47F}" dt="2023-12-20T13:28:48.058" v="1663"/>
          <ac:spMkLst>
            <pc:docMk/>
            <pc:sldMk cId="1153576615" sldId="2147375801"/>
            <ac:spMk id="3" creationId="{5CDBC0DC-046D-858F-6756-21FA4E75527C}"/>
          </ac:spMkLst>
        </pc:spChg>
        <pc:spChg chg="add del mod modVis">
          <ac:chgData name="Leticia Silva" userId="ae98470f-b13e-4231-82f5-fda0897d4c9b" providerId="ADAL" clId="{7A89A945-E419-4319-80D2-C1034673F47F}" dt="2023-12-20T17:51:33.917" v="5585"/>
          <ac:spMkLst>
            <pc:docMk/>
            <pc:sldMk cId="1153576615" sldId="2147375801"/>
            <ac:spMk id="3" creationId="{D9C257AB-4CDE-DAAC-362C-9E90A9D6F9FC}"/>
          </ac:spMkLst>
        </pc:spChg>
        <pc:spChg chg="mod ord">
          <ac:chgData name="Leticia Silva" userId="ae98470f-b13e-4231-82f5-fda0897d4c9b" providerId="ADAL" clId="{7A89A945-E419-4319-80D2-C1034673F47F}" dt="2023-12-20T13:30:12.916" v="4386"/>
          <ac:spMkLst>
            <pc:docMk/>
            <pc:sldMk cId="1153576615" sldId="2147375801"/>
            <ac:spMk id="4" creationId="{837120CE-D8AA-F1EF-A594-34586C5BF255}"/>
          </ac:spMkLst>
        </pc:spChg>
        <pc:spChg chg="mod ord">
          <ac:chgData name="Leticia Silva" userId="ae98470f-b13e-4231-82f5-fda0897d4c9b" providerId="ADAL" clId="{7A89A945-E419-4319-80D2-C1034673F47F}" dt="2023-12-20T13:30:12.916" v="4388"/>
          <ac:spMkLst>
            <pc:docMk/>
            <pc:sldMk cId="1153576615" sldId="2147375801"/>
            <ac:spMk id="5" creationId="{156E35B2-BBC4-AFCE-B79E-B8C16542F036}"/>
          </ac:spMkLst>
        </pc:spChg>
        <pc:spChg chg="mod">
          <ac:chgData name="Leticia Silva" userId="ae98470f-b13e-4231-82f5-fda0897d4c9b" providerId="ADAL" clId="{7A89A945-E419-4319-80D2-C1034673F47F}" dt="2023-12-20T17:51:36.291" v="5702"/>
          <ac:spMkLst>
            <pc:docMk/>
            <pc:sldMk cId="1153576615" sldId="2147375801"/>
            <ac:spMk id="6" creationId="{8A94C884-EB84-776A-0BAF-0624AB532A29}"/>
          </ac:spMkLst>
        </pc:spChg>
        <pc:spChg chg="mod ord">
          <ac:chgData name="Leticia Silva" userId="ae98470f-b13e-4231-82f5-fda0897d4c9b" providerId="ADAL" clId="{7A89A945-E419-4319-80D2-C1034673F47F}" dt="2023-12-20T13:30:12.917" v="4392"/>
          <ac:spMkLst>
            <pc:docMk/>
            <pc:sldMk cId="1153576615" sldId="2147375801"/>
            <ac:spMk id="8" creationId="{B5EF31F3-AC77-EF92-90FF-DF117A12C044}"/>
          </ac:spMkLst>
        </pc:spChg>
        <pc:spChg chg="mod ord">
          <ac:chgData name="Leticia Silva" userId="ae98470f-b13e-4231-82f5-fda0897d4c9b" providerId="ADAL" clId="{7A89A945-E419-4319-80D2-C1034673F47F}" dt="2023-12-20T13:30:12.917" v="4390"/>
          <ac:spMkLst>
            <pc:docMk/>
            <pc:sldMk cId="1153576615" sldId="2147375801"/>
            <ac:spMk id="9" creationId="{9DFB4F71-D59F-3442-478F-8A0833A0DE6A}"/>
          </ac:spMkLst>
        </pc:spChg>
        <pc:spChg chg="mod">
          <ac:chgData name="Leticia Silva" userId="ae98470f-b13e-4231-82f5-fda0897d4c9b" providerId="ADAL" clId="{7A89A945-E419-4319-80D2-C1034673F47F}" dt="2023-12-20T17:51:35.990" v="5644"/>
          <ac:spMkLst>
            <pc:docMk/>
            <pc:sldMk cId="1153576615" sldId="2147375801"/>
            <ac:spMk id="10" creationId="{DADD3565-64DD-F653-C998-617524C88A08}"/>
          </ac:spMkLst>
        </pc:spChg>
        <pc:spChg chg="mod">
          <ac:chgData name="Leticia Silva" userId="ae98470f-b13e-4231-82f5-fda0897d4c9b" providerId="ADAL" clId="{7A89A945-E419-4319-80D2-C1034673F47F}" dt="2023-12-20T17:51:35.993" v="5645"/>
          <ac:spMkLst>
            <pc:docMk/>
            <pc:sldMk cId="1153576615" sldId="2147375801"/>
            <ac:spMk id="11" creationId="{9F19C169-97CA-DFBB-19E0-0567A9D58FD3}"/>
          </ac:spMkLst>
        </pc:spChg>
        <pc:spChg chg="mod">
          <ac:chgData name="Leticia Silva" userId="ae98470f-b13e-4231-82f5-fda0897d4c9b" providerId="ADAL" clId="{7A89A945-E419-4319-80D2-C1034673F47F}" dt="2023-12-20T17:51:35.998" v="5646"/>
          <ac:spMkLst>
            <pc:docMk/>
            <pc:sldMk cId="1153576615" sldId="2147375801"/>
            <ac:spMk id="12" creationId="{B0A6D696-E8DB-020D-E8F1-5301A9ADEC43}"/>
          </ac:spMkLst>
        </pc:spChg>
        <pc:spChg chg="mod">
          <ac:chgData name="Leticia Silva" userId="ae98470f-b13e-4231-82f5-fda0897d4c9b" providerId="ADAL" clId="{7A89A945-E419-4319-80D2-C1034673F47F}" dt="2023-12-20T17:51:36.002" v="5647"/>
          <ac:spMkLst>
            <pc:docMk/>
            <pc:sldMk cId="1153576615" sldId="2147375801"/>
            <ac:spMk id="13" creationId="{73B33549-F875-BDA6-F830-3ED5E8E78143}"/>
          </ac:spMkLst>
        </pc:spChg>
        <pc:spChg chg="mod">
          <ac:chgData name="Leticia Silva" userId="ae98470f-b13e-4231-82f5-fda0897d4c9b" providerId="ADAL" clId="{7A89A945-E419-4319-80D2-C1034673F47F}" dt="2023-12-20T17:51:36.006" v="5648"/>
          <ac:spMkLst>
            <pc:docMk/>
            <pc:sldMk cId="1153576615" sldId="2147375801"/>
            <ac:spMk id="14" creationId="{260E6B27-0998-F967-3E53-57C8E1A4AFDE}"/>
          </ac:spMkLst>
        </pc:spChg>
        <pc:spChg chg="mod">
          <ac:chgData name="Leticia Silva" userId="ae98470f-b13e-4231-82f5-fda0897d4c9b" providerId="ADAL" clId="{7A89A945-E419-4319-80D2-C1034673F47F}" dt="2023-12-20T17:51:36.012" v="5649"/>
          <ac:spMkLst>
            <pc:docMk/>
            <pc:sldMk cId="1153576615" sldId="2147375801"/>
            <ac:spMk id="15" creationId="{B09BCE92-2C95-E2FF-5846-E507D276EDE5}"/>
          </ac:spMkLst>
        </pc:spChg>
        <pc:spChg chg="mod">
          <ac:chgData name="Leticia Silva" userId="ae98470f-b13e-4231-82f5-fda0897d4c9b" providerId="ADAL" clId="{7A89A945-E419-4319-80D2-C1034673F47F}" dt="2023-12-20T17:51:36.020" v="5650"/>
          <ac:spMkLst>
            <pc:docMk/>
            <pc:sldMk cId="1153576615" sldId="2147375801"/>
            <ac:spMk id="16" creationId="{9EA94B67-9617-4307-3CAF-3C390A1E3E92}"/>
          </ac:spMkLst>
        </pc:spChg>
        <pc:spChg chg="mod">
          <ac:chgData name="Leticia Silva" userId="ae98470f-b13e-4231-82f5-fda0897d4c9b" providerId="ADAL" clId="{7A89A945-E419-4319-80D2-C1034673F47F}" dt="2023-12-20T17:51:36.033" v="5651"/>
          <ac:spMkLst>
            <pc:docMk/>
            <pc:sldMk cId="1153576615" sldId="2147375801"/>
            <ac:spMk id="17" creationId="{BB311B17-C01A-87A4-F6A5-D19F81B046C1}"/>
          </ac:spMkLst>
        </pc:spChg>
        <pc:spChg chg="mod">
          <ac:chgData name="Leticia Silva" userId="ae98470f-b13e-4231-82f5-fda0897d4c9b" providerId="ADAL" clId="{7A89A945-E419-4319-80D2-C1034673F47F}" dt="2023-12-20T17:51:36.038" v="5652"/>
          <ac:spMkLst>
            <pc:docMk/>
            <pc:sldMk cId="1153576615" sldId="2147375801"/>
            <ac:spMk id="18" creationId="{B9369D99-86E7-6754-E84B-4B19687A4055}"/>
          </ac:spMkLst>
        </pc:spChg>
        <pc:spChg chg="mod">
          <ac:chgData name="Leticia Silva" userId="ae98470f-b13e-4231-82f5-fda0897d4c9b" providerId="ADAL" clId="{7A89A945-E419-4319-80D2-C1034673F47F}" dt="2023-12-20T17:51:36.044" v="5653"/>
          <ac:spMkLst>
            <pc:docMk/>
            <pc:sldMk cId="1153576615" sldId="2147375801"/>
            <ac:spMk id="19" creationId="{83FF59E6-13BE-14E9-DBFB-53FD43F412BB}"/>
          </ac:spMkLst>
        </pc:spChg>
        <pc:spChg chg="mod">
          <ac:chgData name="Leticia Silva" userId="ae98470f-b13e-4231-82f5-fda0897d4c9b" providerId="ADAL" clId="{7A89A945-E419-4319-80D2-C1034673F47F}" dt="2023-12-20T17:51:36.050" v="5654"/>
          <ac:spMkLst>
            <pc:docMk/>
            <pc:sldMk cId="1153576615" sldId="2147375801"/>
            <ac:spMk id="20" creationId="{71760971-C251-302F-92CD-3594EA706CCA}"/>
          </ac:spMkLst>
        </pc:spChg>
        <pc:spChg chg="mod">
          <ac:chgData name="Leticia Silva" userId="ae98470f-b13e-4231-82f5-fda0897d4c9b" providerId="ADAL" clId="{7A89A945-E419-4319-80D2-C1034673F47F}" dt="2023-12-20T17:51:36.058" v="5656"/>
          <ac:spMkLst>
            <pc:docMk/>
            <pc:sldMk cId="1153576615" sldId="2147375801"/>
            <ac:spMk id="21" creationId="{70407586-EC3D-9E0E-0876-F7043FFDE6D6}"/>
          </ac:spMkLst>
        </pc:spChg>
        <pc:spChg chg="mod">
          <ac:chgData name="Leticia Silva" userId="ae98470f-b13e-4231-82f5-fda0897d4c9b" providerId="ADAL" clId="{7A89A945-E419-4319-80D2-C1034673F47F}" dt="2023-12-20T17:51:36.067" v="5657"/>
          <ac:spMkLst>
            <pc:docMk/>
            <pc:sldMk cId="1153576615" sldId="2147375801"/>
            <ac:spMk id="22" creationId="{B42C536B-C963-1F9A-DE3B-18BFC857ADE0}"/>
          </ac:spMkLst>
        </pc:spChg>
        <pc:spChg chg="mod">
          <ac:chgData name="Leticia Silva" userId="ae98470f-b13e-4231-82f5-fda0897d4c9b" providerId="ADAL" clId="{7A89A945-E419-4319-80D2-C1034673F47F}" dt="2023-12-20T17:51:36.072" v="5658"/>
          <ac:spMkLst>
            <pc:docMk/>
            <pc:sldMk cId="1153576615" sldId="2147375801"/>
            <ac:spMk id="23" creationId="{B9833737-7653-095F-6627-D29139397F37}"/>
          </ac:spMkLst>
        </pc:spChg>
        <pc:spChg chg="mod">
          <ac:chgData name="Leticia Silva" userId="ae98470f-b13e-4231-82f5-fda0897d4c9b" providerId="ADAL" clId="{7A89A945-E419-4319-80D2-C1034673F47F}" dt="2023-12-20T17:51:36.078" v="5659"/>
          <ac:spMkLst>
            <pc:docMk/>
            <pc:sldMk cId="1153576615" sldId="2147375801"/>
            <ac:spMk id="24" creationId="{C1E6A596-3543-8F05-2C1E-9353BCB988BC}"/>
          </ac:spMkLst>
        </pc:spChg>
        <pc:spChg chg="mod">
          <ac:chgData name="Leticia Silva" userId="ae98470f-b13e-4231-82f5-fda0897d4c9b" providerId="ADAL" clId="{7A89A945-E419-4319-80D2-C1034673F47F}" dt="2023-12-20T17:51:36.084" v="5660"/>
          <ac:spMkLst>
            <pc:docMk/>
            <pc:sldMk cId="1153576615" sldId="2147375801"/>
            <ac:spMk id="25" creationId="{55E7578B-D79B-84A0-41E4-4BBFCF2ABEDC}"/>
          </ac:spMkLst>
        </pc:spChg>
        <pc:spChg chg="mod">
          <ac:chgData name="Leticia Silva" userId="ae98470f-b13e-4231-82f5-fda0897d4c9b" providerId="ADAL" clId="{7A89A945-E419-4319-80D2-C1034673F47F}" dt="2023-12-20T17:51:36.089" v="5661"/>
          <ac:spMkLst>
            <pc:docMk/>
            <pc:sldMk cId="1153576615" sldId="2147375801"/>
            <ac:spMk id="26" creationId="{1C99399F-DCB0-809F-EA89-FBCE9C7D09F0}"/>
          </ac:spMkLst>
        </pc:spChg>
        <pc:spChg chg="mod">
          <ac:chgData name="Leticia Silva" userId="ae98470f-b13e-4231-82f5-fda0897d4c9b" providerId="ADAL" clId="{7A89A945-E419-4319-80D2-C1034673F47F}" dt="2023-12-20T17:51:36.093" v="5662"/>
          <ac:spMkLst>
            <pc:docMk/>
            <pc:sldMk cId="1153576615" sldId="2147375801"/>
            <ac:spMk id="27" creationId="{27AD783D-BADA-2AEF-509F-170F4BC39963}"/>
          </ac:spMkLst>
        </pc:spChg>
        <pc:spChg chg="mod">
          <ac:chgData name="Leticia Silva" userId="ae98470f-b13e-4231-82f5-fda0897d4c9b" providerId="ADAL" clId="{7A89A945-E419-4319-80D2-C1034673F47F}" dt="2023-12-20T17:51:36.098" v="5663"/>
          <ac:spMkLst>
            <pc:docMk/>
            <pc:sldMk cId="1153576615" sldId="2147375801"/>
            <ac:spMk id="28" creationId="{CD16BB38-6F19-C706-219D-314BF3FC599D}"/>
          </ac:spMkLst>
        </pc:spChg>
        <pc:spChg chg="mod">
          <ac:chgData name="Leticia Silva" userId="ae98470f-b13e-4231-82f5-fda0897d4c9b" providerId="ADAL" clId="{7A89A945-E419-4319-80D2-C1034673F47F}" dt="2023-12-20T17:51:36.102" v="5664"/>
          <ac:spMkLst>
            <pc:docMk/>
            <pc:sldMk cId="1153576615" sldId="2147375801"/>
            <ac:spMk id="29" creationId="{4FB63A61-07D0-A6BF-4A1B-421D44C82950}"/>
          </ac:spMkLst>
        </pc:spChg>
        <pc:spChg chg="mod">
          <ac:chgData name="Leticia Silva" userId="ae98470f-b13e-4231-82f5-fda0897d4c9b" providerId="ADAL" clId="{7A89A945-E419-4319-80D2-C1034673F47F}" dt="2023-12-20T17:51:36.106" v="5665"/>
          <ac:spMkLst>
            <pc:docMk/>
            <pc:sldMk cId="1153576615" sldId="2147375801"/>
            <ac:spMk id="30" creationId="{A9E61E41-DA4C-C2FD-4145-934A3DE0A7CA}"/>
          </ac:spMkLst>
        </pc:spChg>
        <pc:spChg chg="mod">
          <ac:chgData name="Leticia Silva" userId="ae98470f-b13e-4231-82f5-fda0897d4c9b" providerId="ADAL" clId="{7A89A945-E419-4319-80D2-C1034673F47F}" dt="2023-12-20T17:51:36.110" v="5666"/>
          <ac:spMkLst>
            <pc:docMk/>
            <pc:sldMk cId="1153576615" sldId="2147375801"/>
            <ac:spMk id="31" creationId="{127F9E5C-7D60-E10A-72BD-947181265C90}"/>
          </ac:spMkLst>
        </pc:spChg>
        <pc:spChg chg="mod">
          <ac:chgData name="Leticia Silva" userId="ae98470f-b13e-4231-82f5-fda0897d4c9b" providerId="ADAL" clId="{7A89A945-E419-4319-80D2-C1034673F47F}" dt="2023-12-20T17:51:36.116" v="5667"/>
          <ac:spMkLst>
            <pc:docMk/>
            <pc:sldMk cId="1153576615" sldId="2147375801"/>
            <ac:spMk id="32" creationId="{2DF7FED5-0CF9-D309-8CAD-3AA110C66B69}"/>
          </ac:spMkLst>
        </pc:spChg>
        <pc:spChg chg="mod">
          <ac:chgData name="Leticia Silva" userId="ae98470f-b13e-4231-82f5-fda0897d4c9b" providerId="ADAL" clId="{7A89A945-E419-4319-80D2-C1034673F47F}" dt="2023-12-20T17:51:36.123" v="5668"/>
          <ac:spMkLst>
            <pc:docMk/>
            <pc:sldMk cId="1153576615" sldId="2147375801"/>
            <ac:spMk id="33" creationId="{6322D276-8900-F343-9DB8-5F4DB34A6485}"/>
          </ac:spMkLst>
        </pc:spChg>
        <pc:spChg chg="mod">
          <ac:chgData name="Leticia Silva" userId="ae98470f-b13e-4231-82f5-fda0897d4c9b" providerId="ADAL" clId="{7A89A945-E419-4319-80D2-C1034673F47F}" dt="2023-12-20T17:51:36.127" v="5669"/>
          <ac:spMkLst>
            <pc:docMk/>
            <pc:sldMk cId="1153576615" sldId="2147375801"/>
            <ac:spMk id="34" creationId="{2ABA4105-2BF5-406E-09BE-A243DF56CA8B}"/>
          </ac:spMkLst>
        </pc:spChg>
        <pc:spChg chg="mod">
          <ac:chgData name="Leticia Silva" userId="ae98470f-b13e-4231-82f5-fda0897d4c9b" providerId="ADAL" clId="{7A89A945-E419-4319-80D2-C1034673F47F}" dt="2023-12-20T17:51:36.133" v="5670"/>
          <ac:spMkLst>
            <pc:docMk/>
            <pc:sldMk cId="1153576615" sldId="2147375801"/>
            <ac:spMk id="35" creationId="{3B27BF8D-5D11-05A7-D57A-78EBC6D40930}"/>
          </ac:spMkLst>
        </pc:spChg>
        <pc:spChg chg="mod">
          <ac:chgData name="Leticia Silva" userId="ae98470f-b13e-4231-82f5-fda0897d4c9b" providerId="ADAL" clId="{7A89A945-E419-4319-80D2-C1034673F47F}" dt="2023-12-20T17:51:36.139" v="5671"/>
          <ac:spMkLst>
            <pc:docMk/>
            <pc:sldMk cId="1153576615" sldId="2147375801"/>
            <ac:spMk id="36" creationId="{BB3E1D5D-C3E9-76A1-60C2-16927A361FD3}"/>
          </ac:spMkLst>
        </pc:spChg>
        <pc:spChg chg="mod">
          <ac:chgData name="Leticia Silva" userId="ae98470f-b13e-4231-82f5-fda0897d4c9b" providerId="ADAL" clId="{7A89A945-E419-4319-80D2-C1034673F47F}" dt="2023-12-20T17:51:36.144" v="5672"/>
          <ac:spMkLst>
            <pc:docMk/>
            <pc:sldMk cId="1153576615" sldId="2147375801"/>
            <ac:spMk id="37" creationId="{197D9211-C91A-79C4-0A29-5835ED664AFE}"/>
          </ac:spMkLst>
        </pc:spChg>
        <pc:spChg chg="mod">
          <ac:chgData name="Leticia Silva" userId="ae98470f-b13e-4231-82f5-fda0897d4c9b" providerId="ADAL" clId="{7A89A945-E419-4319-80D2-C1034673F47F}" dt="2023-12-20T17:51:36.152" v="5673"/>
          <ac:spMkLst>
            <pc:docMk/>
            <pc:sldMk cId="1153576615" sldId="2147375801"/>
            <ac:spMk id="38" creationId="{E94D6CCD-E5FB-E22E-4839-C606EF3A93C4}"/>
          </ac:spMkLst>
        </pc:spChg>
        <pc:spChg chg="mod">
          <ac:chgData name="Leticia Silva" userId="ae98470f-b13e-4231-82f5-fda0897d4c9b" providerId="ADAL" clId="{7A89A945-E419-4319-80D2-C1034673F47F}" dt="2023-12-20T17:51:36.157" v="5674"/>
          <ac:spMkLst>
            <pc:docMk/>
            <pc:sldMk cId="1153576615" sldId="2147375801"/>
            <ac:spMk id="39" creationId="{58960C70-9EE2-1DBC-322F-525356829C46}"/>
          </ac:spMkLst>
        </pc:spChg>
        <pc:spChg chg="mod">
          <ac:chgData name="Leticia Silva" userId="ae98470f-b13e-4231-82f5-fda0897d4c9b" providerId="ADAL" clId="{7A89A945-E419-4319-80D2-C1034673F47F}" dt="2023-12-20T17:51:36.163" v="5675"/>
          <ac:spMkLst>
            <pc:docMk/>
            <pc:sldMk cId="1153576615" sldId="2147375801"/>
            <ac:spMk id="40" creationId="{AA64F5A1-847D-E54D-DE64-0A5DE979F76E}"/>
          </ac:spMkLst>
        </pc:spChg>
        <pc:spChg chg="mod">
          <ac:chgData name="Leticia Silva" userId="ae98470f-b13e-4231-82f5-fda0897d4c9b" providerId="ADAL" clId="{7A89A945-E419-4319-80D2-C1034673F47F}" dt="2023-12-20T17:51:36.167" v="5676"/>
          <ac:spMkLst>
            <pc:docMk/>
            <pc:sldMk cId="1153576615" sldId="2147375801"/>
            <ac:spMk id="41" creationId="{A5D00357-B5E4-3DB3-F901-9B593820D0E2}"/>
          </ac:spMkLst>
        </pc:spChg>
        <pc:spChg chg="mod">
          <ac:chgData name="Leticia Silva" userId="ae98470f-b13e-4231-82f5-fda0897d4c9b" providerId="ADAL" clId="{7A89A945-E419-4319-80D2-C1034673F47F}" dt="2023-12-20T17:51:36.171" v="5677"/>
          <ac:spMkLst>
            <pc:docMk/>
            <pc:sldMk cId="1153576615" sldId="2147375801"/>
            <ac:spMk id="42" creationId="{7F65D740-0241-5AE6-A063-ED643A7EFF9C}"/>
          </ac:spMkLst>
        </pc:spChg>
        <pc:spChg chg="mod">
          <ac:chgData name="Leticia Silva" userId="ae98470f-b13e-4231-82f5-fda0897d4c9b" providerId="ADAL" clId="{7A89A945-E419-4319-80D2-C1034673F47F}" dt="2023-12-20T17:51:36.176" v="5678"/>
          <ac:spMkLst>
            <pc:docMk/>
            <pc:sldMk cId="1153576615" sldId="2147375801"/>
            <ac:spMk id="43" creationId="{C1DB0041-2EDF-BC99-F073-AD04E829BE1E}"/>
          </ac:spMkLst>
        </pc:spChg>
        <pc:spChg chg="mod">
          <ac:chgData name="Leticia Silva" userId="ae98470f-b13e-4231-82f5-fda0897d4c9b" providerId="ADAL" clId="{7A89A945-E419-4319-80D2-C1034673F47F}" dt="2023-12-20T17:51:36.181" v="5679"/>
          <ac:spMkLst>
            <pc:docMk/>
            <pc:sldMk cId="1153576615" sldId="2147375801"/>
            <ac:spMk id="44" creationId="{5F67EF46-5F05-B74A-8F6C-F480BBA431A7}"/>
          </ac:spMkLst>
        </pc:spChg>
        <pc:spChg chg="mod">
          <ac:chgData name="Leticia Silva" userId="ae98470f-b13e-4231-82f5-fda0897d4c9b" providerId="ADAL" clId="{7A89A945-E419-4319-80D2-C1034673F47F}" dt="2023-12-20T17:51:36.185" v="5680"/>
          <ac:spMkLst>
            <pc:docMk/>
            <pc:sldMk cId="1153576615" sldId="2147375801"/>
            <ac:spMk id="45" creationId="{2174AD16-2195-4742-7E52-2E73CF3DCDBE}"/>
          </ac:spMkLst>
        </pc:spChg>
        <pc:spChg chg="mod">
          <ac:chgData name="Leticia Silva" userId="ae98470f-b13e-4231-82f5-fda0897d4c9b" providerId="ADAL" clId="{7A89A945-E419-4319-80D2-C1034673F47F}" dt="2023-12-20T17:51:36.190" v="5681"/>
          <ac:spMkLst>
            <pc:docMk/>
            <pc:sldMk cId="1153576615" sldId="2147375801"/>
            <ac:spMk id="46" creationId="{1A348670-4A81-F6D0-19E3-F7B2D265F775}"/>
          </ac:spMkLst>
        </pc:spChg>
        <pc:spChg chg="mod">
          <ac:chgData name="Leticia Silva" userId="ae98470f-b13e-4231-82f5-fda0897d4c9b" providerId="ADAL" clId="{7A89A945-E419-4319-80D2-C1034673F47F}" dt="2023-12-20T17:51:36.198" v="5682"/>
          <ac:spMkLst>
            <pc:docMk/>
            <pc:sldMk cId="1153576615" sldId="2147375801"/>
            <ac:spMk id="47" creationId="{ED5A6D35-861F-B455-EE4E-893E5C980B19}"/>
          </ac:spMkLst>
        </pc:spChg>
        <pc:spChg chg="mod">
          <ac:chgData name="Leticia Silva" userId="ae98470f-b13e-4231-82f5-fda0897d4c9b" providerId="ADAL" clId="{7A89A945-E419-4319-80D2-C1034673F47F}" dt="2023-12-20T17:51:36.202" v="5683"/>
          <ac:spMkLst>
            <pc:docMk/>
            <pc:sldMk cId="1153576615" sldId="2147375801"/>
            <ac:spMk id="48" creationId="{A66E0497-7321-F487-4FEB-A440D6AD75CD}"/>
          </ac:spMkLst>
        </pc:spChg>
        <pc:spChg chg="mod">
          <ac:chgData name="Leticia Silva" userId="ae98470f-b13e-4231-82f5-fda0897d4c9b" providerId="ADAL" clId="{7A89A945-E419-4319-80D2-C1034673F47F}" dt="2023-12-20T17:51:36.207" v="5684"/>
          <ac:spMkLst>
            <pc:docMk/>
            <pc:sldMk cId="1153576615" sldId="2147375801"/>
            <ac:spMk id="49" creationId="{E9BEE94C-E6BF-DDD6-237D-0E192AA14808}"/>
          </ac:spMkLst>
        </pc:spChg>
        <pc:spChg chg="mod">
          <ac:chgData name="Leticia Silva" userId="ae98470f-b13e-4231-82f5-fda0897d4c9b" providerId="ADAL" clId="{7A89A945-E419-4319-80D2-C1034673F47F}" dt="2023-12-20T17:51:36.211" v="5685"/>
          <ac:spMkLst>
            <pc:docMk/>
            <pc:sldMk cId="1153576615" sldId="2147375801"/>
            <ac:spMk id="50" creationId="{981936E5-7436-75DC-28F0-7B1C1CA14D1A}"/>
          </ac:spMkLst>
        </pc:spChg>
        <pc:spChg chg="mod">
          <ac:chgData name="Leticia Silva" userId="ae98470f-b13e-4231-82f5-fda0897d4c9b" providerId="ADAL" clId="{7A89A945-E419-4319-80D2-C1034673F47F}" dt="2023-12-20T17:51:36.215" v="5686"/>
          <ac:spMkLst>
            <pc:docMk/>
            <pc:sldMk cId="1153576615" sldId="2147375801"/>
            <ac:spMk id="51" creationId="{534BD4BD-F63A-9F95-7B21-DB3AC7B7759A}"/>
          </ac:spMkLst>
        </pc:spChg>
        <pc:spChg chg="mod">
          <ac:chgData name="Leticia Silva" userId="ae98470f-b13e-4231-82f5-fda0897d4c9b" providerId="ADAL" clId="{7A89A945-E419-4319-80D2-C1034673F47F}" dt="2023-12-20T17:51:36.219" v="5687"/>
          <ac:spMkLst>
            <pc:docMk/>
            <pc:sldMk cId="1153576615" sldId="2147375801"/>
            <ac:spMk id="52" creationId="{4EC47D91-AF28-30A8-EE21-61A4847F9864}"/>
          </ac:spMkLst>
        </pc:spChg>
        <pc:spChg chg="mod">
          <ac:chgData name="Leticia Silva" userId="ae98470f-b13e-4231-82f5-fda0897d4c9b" providerId="ADAL" clId="{7A89A945-E419-4319-80D2-C1034673F47F}" dt="2023-12-20T17:51:36.223" v="5688"/>
          <ac:spMkLst>
            <pc:docMk/>
            <pc:sldMk cId="1153576615" sldId="2147375801"/>
            <ac:spMk id="53" creationId="{0A5CA914-A23B-0F29-F519-9088B10B8A07}"/>
          </ac:spMkLst>
        </pc:spChg>
        <pc:spChg chg="mod">
          <ac:chgData name="Leticia Silva" userId="ae98470f-b13e-4231-82f5-fda0897d4c9b" providerId="ADAL" clId="{7A89A945-E419-4319-80D2-C1034673F47F}" dt="2023-12-20T17:51:36.232" v="5689"/>
          <ac:spMkLst>
            <pc:docMk/>
            <pc:sldMk cId="1153576615" sldId="2147375801"/>
            <ac:spMk id="54" creationId="{465760F3-B410-8752-EE7F-1AD68F63CB0F}"/>
          </ac:spMkLst>
        </pc:spChg>
        <pc:spChg chg="mod">
          <ac:chgData name="Leticia Silva" userId="ae98470f-b13e-4231-82f5-fda0897d4c9b" providerId="ADAL" clId="{7A89A945-E419-4319-80D2-C1034673F47F}" dt="2023-12-20T17:51:36.236" v="5690"/>
          <ac:spMkLst>
            <pc:docMk/>
            <pc:sldMk cId="1153576615" sldId="2147375801"/>
            <ac:spMk id="55" creationId="{73689384-BEA1-C6B0-7B70-D5B6B37AEB70}"/>
          </ac:spMkLst>
        </pc:spChg>
        <pc:spChg chg="mod">
          <ac:chgData name="Leticia Silva" userId="ae98470f-b13e-4231-82f5-fda0897d4c9b" providerId="ADAL" clId="{7A89A945-E419-4319-80D2-C1034673F47F}" dt="2023-12-20T17:51:36.241" v="5691"/>
          <ac:spMkLst>
            <pc:docMk/>
            <pc:sldMk cId="1153576615" sldId="2147375801"/>
            <ac:spMk id="56" creationId="{601D9277-75BF-56B5-FE6E-1822E13F5B2E}"/>
          </ac:spMkLst>
        </pc:spChg>
        <pc:spChg chg="mod">
          <ac:chgData name="Leticia Silva" userId="ae98470f-b13e-4231-82f5-fda0897d4c9b" providerId="ADAL" clId="{7A89A945-E419-4319-80D2-C1034673F47F}" dt="2023-12-20T17:51:36.248" v="5692"/>
          <ac:spMkLst>
            <pc:docMk/>
            <pc:sldMk cId="1153576615" sldId="2147375801"/>
            <ac:spMk id="57" creationId="{139A9566-ACA5-E151-1EC7-C1975BED2916}"/>
          </ac:spMkLst>
        </pc:spChg>
        <pc:spChg chg="mod">
          <ac:chgData name="Leticia Silva" userId="ae98470f-b13e-4231-82f5-fda0897d4c9b" providerId="ADAL" clId="{7A89A945-E419-4319-80D2-C1034673F47F}" dt="2023-12-20T17:51:36.252" v="5693"/>
          <ac:spMkLst>
            <pc:docMk/>
            <pc:sldMk cId="1153576615" sldId="2147375801"/>
            <ac:spMk id="58" creationId="{34294F75-2BF8-803F-B1FE-CCD8A3D81980}"/>
          </ac:spMkLst>
        </pc:spChg>
        <pc:spChg chg="mod">
          <ac:chgData name="Leticia Silva" userId="ae98470f-b13e-4231-82f5-fda0897d4c9b" providerId="ADAL" clId="{7A89A945-E419-4319-80D2-C1034673F47F}" dt="2023-12-20T17:51:36.255" v="5694"/>
          <ac:spMkLst>
            <pc:docMk/>
            <pc:sldMk cId="1153576615" sldId="2147375801"/>
            <ac:spMk id="59" creationId="{F1F92DED-2DDF-CD36-78F9-7D36BC64F216}"/>
          </ac:spMkLst>
        </pc:spChg>
        <pc:spChg chg="mod">
          <ac:chgData name="Leticia Silva" userId="ae98470f-b13e-4231-82f5-fda0897d4c9b" providerId="ADAL" clId="{7A89A945-E419-4319-80D2-C1034673F47F}" dt="2023-12-20T17:51:36.260" v="5695"/>
          <ac:spMkLst>
            <pc:docMk/>
            <pc:sldMk cId="1153576615" sldId="2147375801"/>
            <ac:spMk id="60" creationId="{80EDDB9E-80BE-A4E7-921E-DE9A60F6367C}"/>
          </ac:spMkLst>
        </pc:spChg>
        <pc:spChg chg="mod">
          <ac:chgData name="Leticia Silva" userId="ae98470f-b13e-4231-82f5-fda0897d4c9b" providerId="ADAL" clId="{7A89A945-E419-4319-80D2-C1034673F47F}" dt="2023-12-20T17:51:36.267" v="5696"/>
          <ac:spMkLst>
            <pc:docMk/>
            <pc:sldMk cId="1153576615" sldId="2147375801"/>
            <ac:spMk id="61" creationId="{2E27B4DE-8219-903E-2AFA-FB820035B2E8}"/>
          </ac:spMkLst>
        </pc:spChg>
        <pc:spChg chg="mod">
          <ac:chgData name="Leticia Silva" userId="ae98470f-b13e-4231-82f5-fda0897d4c9b" providerId="ADAL" clId="{7A89A945-E419-4319-80D2-C1034673F47F}" dt="2023-12-20T17:51:36.271" v="5697"/>
          <ac:spMkLst>
            <pc:docMk/>
            <pc:sldMk cId="1153576615" sldId="2147375801"/>
            <ac:spMk id="62" creationId="{32E4F4EE-B898-212B-911E-3AD7E30A0BAF}"/>
          </ac:spMkLst>
        </pc:spChg>
        <pc:spChg chg="mod">
          <ac:chgData name="Leticia Silva" userId="ae98470f-b13e-4231-82f5-fda0897d4c9b" providerId="ADAL" clId="{7A89A945-E419-4319-80D2-C1034673F47F}" dt="2023-12-20T17:51:36.275" v="5698"/>
          <ac:spMkLst>
            <pc:docMk/>
            <pc:sldMk cId="1153576615" sldId="2147375801"/>
            <ac:spMk id="63" creationId="{A4579D33-9274-EE32-F85E-C7AC5B762479}"/>
          </ac:spMkLst>
        </pc:spChg>
        <pc:spChg chg="mod">
          <ac:chgData name="Leticia Silva" userId="ae98470f-b13e-4231-82f5-fda0897d4c9b" providerId="ADAL" clId="{7A89A945-E419-4319-80D2-C1034673F47F}" dt="2023-12-20T17:51:36.278" v="5699"/>
          <ac:spMkLst>
            <pc:docMk/>
            <pc:sldMk cId="1153576615" sldId="2147375801"/>
            <ac:spMk id="64" creationId="{B2E230B9-249A-A7B9-04DF-B6EE4D033968}"/>
          </ac:spMkLst>
        </pc:spChg>
        <pc:spChg chg="mod">
          <ac:chgData name="Leticia Silva" userId="ae98470f-b13e-4231-82f5-fda0897d4c9b" providerId="ADAL" clId="{7A89A945-E419-4319-80D2-C1034673F47F}" dt="2023-12-20T17:51:36.282" v="5700"/>
          <ac:spMkLst>
            <pc:docMk/>
            <pc:sldMk cId="1153576615" sldId="2147375801"/>
            <ac:spMk id="65" creationId="{2FBA09A4-4F80-DFD1-07A6-18BFE8A23362}"/>
          </ac:spMkLst>
        </pc:spChg>
        <pc:spChg chg="mod">
          <ac:chgData name="Leticia Silva" userId="ae98470f-b13e-4231-82f5-fda0897d4c9b" providerId="ADAL" clId="{7A89A945-E419-4319-80D2-C1034673F47F}" dt="2023-12-20T17:51:36.286" v="5701"/>
          <ac:spMkLst>
            <pc:docMk/>
            <pc:sldMk cId="1153576615" sldId="2147375801"/>
            <ac:spMk id="66" creationId="{0F5BA2E1-F877-6AEA-E7E5-4A4DDA6B567A}"/>
          </ac:spMkLst>
        </pc:spChg>
        <pc:spChg chg="add mod replST">
          <ac:chgData name="Leticia Silva" userId="ae98470f-b13e-4231-82f5-fda0897d4c9b" providerId="ADAL" clId="{7A89A945-E419-4319-80D2-C1034673F47F}" dt="2023-12-20T13:29:32.328" v="3587"/>
          <ac:spMkLst>
            <pc:docMk/>
            <pc:sldMk cId="1153576615" sldId="2147375801"/>
            <ac:spMk id="114" creationId="{91CB566D-F11B-7D71-C6B2-0D1777463E65}"/>
          </ac:spMkLst>
        </pc:spChg>
        <pc:spChg chg="add del mod modVis">
          <ac:chgData name="Leticia Silva" userId="ae98470f-b13e-4231-82f5-fda0897d4c9b" providerId="ADAL" clId="{7A89A945-E419-4319-80D2-C1034673F47F}" dt="2023-12-20T13:29:32.328" v="3587"/>
          <ac:spMkLst>
            <pc:docMk/>
            <pc:sldMk cId="1153576615" sldId="2147375801"/>
            <ac:spMk id="115" creationId="{8011505B-2CAE-DC4E-745D-1E91A09A6EE8}"/>
          </ac:spMkLst>
        </pc:spChg>
        <pc:spChg chg="mod ord">
          <ac:chgData name="Leticia Silva" userId="ae98470f-b13e-4231-82f5-fda0897d4c9b" providerId="ADAL" clId="{7A89A945-E419-4319-80D2-C1034673F47F}" dt="2023-12-20T13:30:12.976" v="4582"/>
          <ac:spMkLst>
            <pc:docMk/>
            <pc:sldMk cId="1153576615" sldId="2147375801"/>
            <ac:spMk id="130" creationId="{29DA7E26-579B-6413-63AD-0202A32865CD}"/>
          </ac:spMkLst>
        </pc:spChg>
        <pc:spChg chg="mod ord">
          <ac:chgData name="Leticia Silva" userId="ae98470f-b13e-4231-82f5-fda0897d4c9b" providerId="ADAL" clId="{7A89A945-E419-4319-80D2-C1034673F47F}" dt="2023-12-20T13:30:12.979" v="4592"/>
          <ac:spMkLst>
            <pc:docMk/>
            <pc:sldMk cId="1153576615" sldId="2147375801"/>
            <ac:spMk id="131" creationId="{72C86229-0E5F-A425-3180-2E85CA11C247}"/>
          </ac:spMkLst>
        </pc:spChg>
        <pc:spChg chg="mod ord">
          <ac:chgData name="Leticia Silva" userId="ae98470f-b13e-4231-82f5-fda0897d4c9b" providerId="ADAL" clId="{7A89A945-E419-4319-80D2-C1034673F47F}" dt="2023-12-20T13:30:12.977" v="4584"/>
          <ac:spMkLst>
            <pc:docMk/>
            <pc:sldMk cId="1153576615" sldId="2147375801"/>
            <ac:spMk id="132" creationId="{B9DAC29B-F272-D3C7-1AA5-D008469AAB49}"/>
          </ac:spMkLst>
        </pc:spChg>
        <pc:spChg chg="mod ord">
          <ac:chgData name="Leticia Silva" userId="ae98470f-b13e-4231-82f5-fda0897d4c9b" providerId="ADAL" clId="{7A89A945-E419-4319-80D2-C1034673F47F}" dt="2023-12-20T13:30:12.977" v="4586"/>
          <ac:spMkLst>
            <pc:docMk/>
            <pc:sldMk cId="1153576615" sldId="2147375801"/>
            <ac:spMk id="133" creationId="{C175C043-FF19-02B4-6AF1-35F72847ED54}"/>
          </ac:spMkLst>
        </pc:spChg>
        <pc:spChg chg="mod ord">
          <ac:chgData name="Leticia Silva" userId="ae98470f-b13e-4231-82f5-fda0897d4c9b" providerId="ADAL" clId="{7A89A945-E419-4319-80D2-C1034673F47F}" dt="2023-12-20T13:30:12.978" v="4590"/>
          <ac:spMkLst>
            <pc:docMk/>
            <pc:sldMk cId="1153576615" sldId="2147375801"/>
            <ac:spMk id="134" creationId="{86210A8B-1F54-E426-24F9-5FCAB58E8952}"/>
          </ac:spMkLst>
        </pc:spChg>
        <pc:spChg chg="mod ord">
          <ac:chgData name="Leticia Silva" userId="ae98470f-b13e-4231-82f5-fda0897d4c9b" providerId="ADAL" clId="{7A89A945-E419-4319-80D2-C1034673F47F}" dt="2023-12-20T13:30:12.978" v="4588"/>
          <ac:spMkLst>
            <pc:docMk/>
            <pc:sldMk cId="1153576615" sldId="2147375801"/>
            <ac:spMk id="135" creationId="{4142561D-B72D-1091-CEF7-2CEBCB0839FB}"/>
          </ac:spMkLst>
        </pc:spChg>
        <pc:spChg chg="mod ord">
          <ac:chgData name="Leticia Silva" userId="ae98470f-b13e-4231-82f5-fda0897d4c9b" providerId="ADAL" clId="{7A89A945-E419-4319-80D2-C1034673F47F}" dt="2023-12-20T13:30:12.980" v="4596"/>
          <ac:spMkLst>
            <pc:docMk/>
            <pc:sldMk cId="1153576615" sldId="2147375801"/>
            <ac:spMk id="136" creationId="{7E39812D-6864-6917-2461-BF357490F61A}"/>
          </ac:spMkLst>
        </pc:spChg>
        <pc:spChg chg="mod ord">
          <ac:chgData name="Leticia Silva" userId="ae98470f-b13e-4231-82f5-fda0897d4c9b" providerId="ADAL" clId="{7A89A945-E419-4319-80D2-C1034673F47F}" dt="2023-12-20T13:30:12.981" v="4598"/>
          <ac:spMkLst>
            <pc:docMk/>
            <pc:sldMk cId="1153576615" sldId="2147375801"/>
            <ac:spMk id="137" creationId="{D2B3499E-5C7E-0625-74E4-8332E8D875C0}"/>
          </ac:spMkLst>
        </pc:spChg>
        <pc:spChg chg="mod ord">
          <ac:chgData name="Leticia Silva" userId="ae98470f-b13e-4231-82f5-fda0897d4c9b" providerId="ADAL" clId="{7A89A945-E419-4319-80D2-C1034673F47F}" dt="2023-12-20T13:30:12.981" v="4600"/>
          <ac:spMkLst>
            <pc:docMk/>
            <pc:sldMk cId="1153576615" sldId="2147375801"/>
            <ac:spMk id="138" creationId="{D8B33271-7859-6513-D4E4-4A51E7DAEA02}"/>
          </ac:spMkLst>
        </pc:spChg>
        <pc:spChg chg="mod ord">
          <ac:chgData name="Leticia Silva" userId="ae98470f-b13e-4231-82f5-fda0897d4c9b" providerId="ADAL" clId="{7A89A945-E419-4319-80D2-C1034673F47F}" dt="2023-12-20T13:30:12.980" v="4594"/>
          <ac:spMkLst>
            <pc:docMk/>
            <pc:sldMk cId="1153576615" sldId="2147375801"/>
            <ac:spMk id="139" creationId="{3BA9B1C5-B998-75B0-25E9-879971A60F24}"/>
          </ac:spMkLst>
        </pc:spChg>
        <pc:spChg chg="mod ord">
          <ac:chgData name="Leticia Silva" userId="ae98470f-b13e-4231-82f5-fda0897d4c9b" providerId="ADAL" clId="{7A89A945-E419-4319-80D2-C1034673F47F}" dt="2023-12-20T13:30:12.982" v="4602"/>
          <ac:spMkLst>
            <pc:docMk/>
            <pc:sldMk cId="1153576615" sldId="2147375801"/>
            <ac:spMk id="140" creationId="{4F1F6DFC-459E-7DA4-8445-ACFC1D4C8AFB}"/>
          </ac:spMkLst>
        </pc:spChg>
        <pc:spChg chg="mod ord">
          <ac:chgData name="Leticia Silva" userId="ae98470f-b13e-4231-82f5-fda0897d4c9b" providerId="ADAL" clId="{7A89A945-E419-4319-80D2-C1034673F47F}" dt="2023-12-20T13:30:12.983" v="4606"/>
          <ac:spMkLst>
            <pc:docMk/>
            <pc:sldMk cId="1153576615" sldId="2147375801"/>
            <ac:spMk id="141" creationId="{1432AAA0-37F5-7CBB-CF47-92B0AAE1C038}"/>
          </ac:spMkLst>
        </pc:spChg>
        <pc:spChg chg="mod ord">
          <ac:chgData name="Leticia Silva" userId="ae98470f-b13e-4231-82f5-fda0897d4c9b" providerId="ADAL" clId="{7A89A945-E419-4319-80D2-C1034673F47F}" dt="2023-12-20T13:30:12.983" v="4610"/>
          <ac:spMkLst>
            <pc:docMk/>
            <pc:sldMk cId="1153576615" sldId="2147375801"/>
            <ac:spMk id="142" creationId="{2F8E1CC8-956A-0BAF-FAE0-00A2DE5ACF91}"/>
          </ac:spMkLst>
        </pc:spChg>
        <pc:spChg chg="mod ord">
          <ac:chgData name="Leticia Silva" userId="ae98470f-b13e-4231-82f5-fda0897d4c9b" providerId="ADAL" clId="{7A89A945-E419-4319-80D2-C1034673F47F}" dt="2023-12-20T13:30:12.983" v="4608"/>
          <ac:spMkLst>
            <pc:docMk/>
            <pc:sldMk cId="1153576615" sldId="2147375801"/>
            <ac:spMk id="143" creationId="{B3D00F8A-615F-BA28-8995-473235AEB0C6}"/>
          </ac:spMkLst>
        </pc:spChg>
        <pc:spChg chg="mod ord">
          <ac:chgData name="Leticia Silva" userId="ae98470f-b13e-4231-82f5-fda0897d4c9b" providerId="ADAL" clId="{7A89A945-E419-4319-80D2-C1034673F47F}" dt="2023-12-20T13:30:12.984" v="4612"/>
          <ac:spMkLst>
            <pc:docMk/>
            <pc:sldMk cId="1153576615" sldId="2147375801"/>
            <ac:spMk id="144" creationId="{E10E3E32-C709-42DF-2945-A78A20B9E03B}"/>
          </ac:spMkLst>
        </pc:spChg>
        <pc:spChg chg="mod ord">
          <ac:chgData name="Leticia Silva" userId="ae98470f-b13e-4231-82f5-fda0897d4c9b" providerId="ADAL" clId="{7A89A945-E419-4319-80D2-C1034673F47F}" dt="2023-12-20T13:30:12.982" v="4604"/>
          <ac:spMkLst>
            <pc:docMk/>
            <pc:sldMk cId="1153576615" sldId="2147375801"/>
            <ac:spMk id="145" creationId="{DEE057F4-3A1F-D159-299D-8398B072F3B8}"/>
          </ac:spMkLst>
        </pc:spChg>
        <pc:spChg chg="mod ord">
          <ac:chgData name="Leticia Silva" userId="ae98470f-b13e-4231-82f5-fda0897d4c9b" providerId="ADAL" clId="{7A89A945-E419-4319-80D2-C1034673F47F}" dt="2023-12-20T13:30:12.985" v="4614"/>
          <ac:spMkLst>
            <pc:docMk/>
            <pc:sldMk cId="1153576615" sldId="2147375801"/>
            <ac:spMk id="146" creationId="{B48E0E11-4A98-8749-4BEF-1E94F340E96B}"/>
          </ac:spMkLst>
        </pc:spChg>
        <pc:spChg chg="mod ord">
          <ac:chgData name="Leticia Silva" userId="ae98470f-b13e-4231-82f5-fda0897d4c9b" providerId="ADAL" clId="{7A89A945-E419-4319-80D2-C1034673F47F}" dt="2023-12-20T13:30:12.986" v="4618"/>
          <ac:spMkLst>
            <pc:docMk/>
            <pc:sldMk cId="1153576615" sldId="2147375801"/>
            <ac:spMk id="147" creationId="{349FAA3B-6A26-6474-E40D-6B8FF5D5635C}"/>
          </ac:spMkLst>
        </pc:spChg>
        <pc:spChg chg="mod ord">
          <ac:chgData name="Leticia Silva" userId="ae98470f-b13e-4231-82f5-fda0897d4c9b" providerId="ADAL" clId="{7A89A945-E419-4319-80D2-C1034673F47F}" dt="2023-12-20T13:30:12.985" v="4616"/>
          <ac:spMkLst>
            <pc:docMk/>
            <pc:sldMk cId="1153576615" sldId="2147375801"/>
            <ac:spMk id="148" creationId="{5203DDC0-4353-190F-F56F-D0FB67A9D244}"/>
          </ac:spMkLst>
        </pc:spChg>
        <pc:spChg chg="mod ord">
          <ac:chgData name="Leticia Silva" userId="ae98470f-b13e-4231-82f5-fda0897d4c9b" providerId="ADAL" clId="{7A89A945-E419-4319-80D2-C1034673F47F}" dt="2023-12-20T13:30:12.987" v="4622"/>
          <ac:spMkLst>
            <pc:docMk/>
            <pc:sldMk cId="1153576615" sldId="2147375801"/>
            <ac:spMk id="149" creationId="{6CF3F443-833A-5B83-0B28-AA2F9088BF91}"/>
          </ac:spMkLst>
        </pc:spChg>
        <pc:spChg chg="mod ord">
          <ac:chgData name="Leticia Silva" userId="ae98470f-b13e-4231-82f5-fda0897d4c9b" providerId="ADAL" clId="{7A89A945-E419-4319-80D2-C1034673F47F}" dt="2023-12-20T13:30:12.986" v="4620"/>
          <ac:spMkLst>
            <pc:docMk/>
            <pc:sldMk cId="1153576615" sldId="2147375801"/>
            <ac:spMk id="150" creationId="{1B9DCB6A-75E3-0963-CF44-398D59CAF688}"/>
          </ac:spMkLst>
        </pc:spChg>
        <pc:spChg chg="mod ord">
          <ac:chgData name="Leticia Silva" userId="ae98470f-b13e-4231-82f5-fda0897d4c9b" providerId="ADAL" clId="{7A89A945-E419-4319-80D2-C1034673F47F}" dt="2023-12-20T13:30:12.989" v="4628"/>
          <ac:spMkLst>
            <pc:docMk/>
            <pc:sldMk cId="1153576615" sldId="2147375801"/>
            <ac:spMk id="151" creationId="{7FF65685-34EA-F790-AB19-CC0F2139C124}"/>
          </ac:spMkLst>
        </pc:spChg>
        <pc:spChg chg="mod ord">
          <ac:chgData name="Leticia Silva" userId="ae98470f-b13e-4231-82f5-fda0897d4c9b" providerId="ADAL" clId="{7A89A945-E419-4319-80D2-C1034673F47F}" dt="2023-12-20T13:30:12.989" v="4630"/>
          <ac:spMkLst>
            <pc:docMk/>
            <pc:sldMk cId="1153576615" sldId="2147375801"/>
            <ac:spMk id="152" creationId="{A0CC70A7-4092-EC00-2DA5-47B7FBF6B289}"/>
          </ac:spMkLst>
        </pc:spChg>
        <pc:spChg chg="mod ord">
          <ac:chgData name="Leticia Silva" userId="ae98470f-b13e-4231-82f5-fda0897d4c9b" providerId="ADAL" clId="{7A89A945-E419-4319-80D2-C1034673F47F}" dt="2023-12-20T13:30:12.987" v="4624"/>
          <ac:spMkLst>
            <pc:docMk/>
            <pc:sldMk cId="1153576615" sldId="2147375801"/>
            <ac:spMk id="153" creationId="{334E83CB-F292-2E46-4D64-40EF3C474D8E}"/>
          </ac:spMkLst>
        </pc:spChg>
        <pc:spChg chg="mod ord">
          <ac:chgData name="Leticia Silva" userId="ae98470f-b13e-4231-82f5-fda0897d4c9b" providerId="ADAL" clId="{7A89A945-E419-4319-80D2-C1034673F47F}" dt="2023-12-20T13:30:12.989" v="4626"/>
          <ac:spMkLst>
            <pc:docMk/>
            <pc:sldMk cId="1153576615" sldId="2147375801"/>
            <ac:spMk id="154" creationId="{A1003381-0FBB-C41C-B23B-3EB48C716C8B}"/>
          </ac:spMkLst>
        </pc:spChg>
        <pc:spChg chg="mod ord">
          <ac:chgData name="Leticia Silva" userId="ae98470f-b13e-4231-82f5-fda0897d4c9b" providerId="ADAL" clId="{7A89A945-E419-4319-80D2-C1034673F47F}" dt="2023-12-20T13:30:12.990" v="4636"/>
          <ac:spMkLst>
            <pc:docMk/>
            <pc:sldMk cId="1153576615" sldId="2147375801"/>
            <ac:spMk id="155" creationId="{389CC9FA-C0C6-FC77-7E95-7B1C40D339FA}"/>
          </ac:spMkLst>
        </pc:spChg>
        <pc:spChg chg="mod ord">
          <ac:chgData name="Leticia Silva" userId="ae98470f-b13e-4231-82f5-fda0897d4c9b" providerId="ADAL" clId="{7A89A945-E419-4319-80D2-C1034673F47F}" dt="2023-12-20T13:30:12.990" v="4632"/>
          <ac:spMkLst>
            <pc:docMk/>
            <pc:sldMk cId="1153576615" sldId="2147375801"/>
            <ac:spMk id="156" creationId="{28F7A878-3788-1264-7064-9FFF1C114C32}"/>
          </ac:spMkLst>
        </pc:spChg>
        <pc:spChg chg="mod ord">
          <ac:chgData name="Leticia Silva" userId="ae98470f-b13e-4231-82f5-fda0897d4c9b" providerId="ADAL" clId="{7A89A945-E419-4319-80D2-C1034673F47F}" dt="2023-12-20T13:30:12.990" v="4634"/>
          <ac:spMkLst>
            <pc:docMk/>
            <pc:sldMk cId="1153576615" sldId="2147375801"/>
            <ac:spMk id="157" creationId="{9DC6D15E-91DD-D1A5-282D-CC6E6A946EE1}"/>
          </ac:spMkLst>
        </pc:spChg>
        <pc:spChg chg="mod">
          <ac:chgData name="Leticia Silva" userId="ae98470f-b13e-4231-82f5-fda0897d4c9b" providerId="ADAL" clId="{7A89A945-E419-4319-80D2-C1034673F47F}" dt="2023-12-20T13:30:12.992" v="4639"/>
          <ac:spMkLst>
            <pc:docMk/>
            <pc:sldMk cId="1153576615" sldId="2147375801"/>
            <ac:spMk id="158" creationId="{E3638EAB-B523-9500-7004-E195BD60CBAC}"/>
          </ac:spMkLst>
        </pc:spChg>
        <pc:spChg chg="mod">
          <ac:chgData name="Leticia Silva" userId="ae98470f-b13e-4231-82f5-fda0897d4c9b" providerId="ADAL" clId="{7A89A945-E419-4319-80D2-C1034673F47F}" dt="2023-12-20T13:30:12.991" v="4638"/>
          <ac:spMkLst>
            <pc:docMk/>
            <pc:sldMk cId="1153576615" sldId="2147375801"/>
            <ac:spMk id="159" creationId="{90DE5764-8CAE-0956-E899-053828BC1968}"/>
          </ac:spMkLst>
        </pc:spChg>
        <pc:spChg chg="mod">
          <ac:chgData name="Leticia Silva" userId="ae98470f-b13e-4231-82f5-fda0897d4c9b" providerId="ADAL" clId="{7A89A945-E419-4319-80D2-C1034673F47F}" dt="2023-12-20T13:30:12.991" v="4637"/>
          <ac:spMkLst>
            <pc:docMk/>
            <pc:sldMk cId="1153576615" sldId="2147375801"/>
            <ac:spMk id="160" creationId="{4F43C02C-3CC4-2D7A-2DA3-879F09B90914}"/>
          </ac:spMkLst>
        </pc:spChg>
        <pc:spChg chg="mod">
          <ac:chgData name="Leticia Silva" userId="ae98470f-b13e-4231-82f5-fda0897d4c9b" providerId="ADAL" clId="{7A89A945-E419-4319-80D2-C1034673F47F}" dt="2023-12-20T13:30:12.992" v="4640"/>
          <ac:spMkLst>
            <pc:docMk/>
            <pc:sldMk cId="1153576615" sldId="2147375801"/>
            <ac:spMk id="161" creationId="{0A26A93A-EEF4-CEB2-F154-1403EFD54A15}"/>
          </ac:spMkLst>
        </pc:spChg>
        <pc:spChg chg="mod ord">
          <ac:chgData name="Leticia Silva" userId="ae98470f-b13e-4231-82f5-fda0897d4c9b" providerId="ADAL" clId="{7A89A945-E419-4319-80D2-C1034673F47F}" dt="2023-12-20T13:30:12.992" v="4642"/>
          <ac:spMkLst>
            <pc:docMk/>
            <pc:sldMk cId="1153576615" sldId="2147375801"/>
            <ac:spMk id="162" creationId="{0AC69BE5-024B-4434-2281-69F0DC001A8C}"/>
          </ac:spMkLst>
        </pc:spChg>
        <pc:spChg chg="mod ord">
          <ac:chgData name="Leticia Silva" userId="ae98470f-b13e-4231-82f5-fda0897d4c9b" providerId="ADAL" clId="{7A89A945-E419-4319-80D2-C1034673F47F}" dt="2023-12-20T13:30:12.993" v="4644"/>
          <ac:spMkLst>
            <pc:docMk/>
            <pc:sldMk cId="1153576615" sldId="2147375801"/>
            <ac:spMk id="163" creationId="{F83672C5-2BFB-6ABE-77E4-1916FD132BC5}"/>
          </ac:spMkLst>
        </pc:spChg>
        <pc:spChg chg="mod ord">
          <ac:chgData name="Leticia Silva" userId="ae98470f-b13e-4231-82f5-fda0897d4c9b" providerId="ADAL" clId="{7A89A945-E419-4319-80D2-C1034673F47F}" dt="2023-12-20T13:30:12.994" v="4648"/>
          <ac:spMkLst>
            <pc:docMk/>
            <pc:sldMk cId="1153576615" sldId="2147375801"/>
            <ac:spMk id="164" creationId="{A32F3C98-7CE1-3AD5-0520-90C2CB397BB3}"/>
          </ac:spMkLst>
        </pc:spChg>
        <pc:spChg chg="mod ord">
          <ac:chgData name="Leticia Silva" userId="ae98470f-b13e-4231-82f5-fda0897d4c9b" providerId="ADAL" clId="{7A89A945-E419-4319-80D2-C1034673F47F}" dt="2023-12-20T13:30:12.995" v="4650"/>
          <ac:spMkLst>
            <pc:docMk/>
            <pc:sldMk cId="1153576615" sldId="2147375801"/>
            <ac:spMk id="166" creationId="{E4E19E28-1B3D-6EEF-A381-CE4A2820EB41}"/>
          </ac:spMkLst>
        </pc:spChg>
        <pc:spChg chg="mod ord">
          <ac:chgData name="Leticia Silva" userId="ae98470f-b13e-4231-82f5-fda0897d4c9b" providerId="ADAL" clId="{7A89A945-E419-4319-80D2-C1034673F47F}" dt="2023-12-20T13:30:12.995" v="4652"/>
          <ac:spMkLst>
            <pc:docMk/>
            <pc:sldMk cId="1153576615" sldId="2147375801"/>
            <ac:spMk id="167" creationId="{7E0D6B80-0463-733D-921F-12B6CF781963}"/>
          </ac:spMkLst>
        </pc:spChg>
        <pc:spChg chg="mod ord">
          <ac:chgData name="Leticia Silva" userId="ae98470f-b13e-4231-82f5-fda0897d4c9b" providerId="ADAL" clId="{7A89A945-E419-4319-80D2-C1034673F47F}" dt="2023-12-20T13:30:12.996" v="4656"/>
          <ac:spMkLst>
            <pc:docMk/>
            <pc:sldMk cId="1153576615" sldId="2147375801"/>
            <ac:spMk id="168" creationId="{09FB6A66-D9BA-AA29-6388-B9403AC31515}"/>
          </ac:spMkLst>
        </pc:spChg>
        <pc:spChg chg="mod ord">
          <ac:chgData name="Leticia Silva" userId="ae98470f-b13e-4231-82f5-fda0897d4c9b" providerId="ADAL" clId="{7A89A945-E419-4319-80D2-C1034673F47F}" dt="2023-12-20T13:30:12.995" v="4654"/>
          <ac:spMkLst>
            <pc:docMk/>
            <pc:sldMk cId="1153576615" sldId="2147375801"/>
            <ac:spMk id="169" creationId="{9544B3CF-0D35-A3FE-3D40-1A03C5D80A14}"/>
          </ac:spMkLst>
        </pc:spChg>
        <pc:spChg chg="mod ord">
          <ac:chgData name="Leticia Silva" userId="ae98470f-b13e-4231-82f5-fda0897d4c9b" providerId="ADAL" clId="{7A89A945-E419-4319-80D2-C1034673F47F}" dt="2023-12-20T13:30:12.996" v="4658"/>
          <ac:spMkLst>
            <pc:docMk/>
            <pc:sldMk cId="1153576615" sldId="2147375801"/>
            <ac:spMk id="170" creationId="{6B7D2B51-8B48-9FE9-574E-E805AFD6FEBD}"/>
          </ac:spMkLst>
        </pc:spChg>
        <pc:spChg chg="mod ord">
          <ac:chgData name="Leticia Silva" userId="ae98470f-b13e-4231-82f5-fda0897d4c9b" providerId="ADAL" clId="{7A89A945-E419-4319-80D2-C1034673F47F}" dt="2023-12-20T13:30:12.997" v="4660"/>
          <ac:spMkLst>
            <pc:docMk/>
            <pc:sldMk cId="1153576615" sldId="2147375801"/>
            <ac:spMk id="171" creationId="{E474789B-60E3-3662-3F53-604A562BCAD6}"/>
          </ac:spMkLst>
        </pc:spChg>
        <pc:spChg chg="mod ord">
          <ac:chgData name="Leticia Silva" userId="ae98470f-b13e-4231-82f5-fda0897d4c9b" providerId="ADAL" clId="{7A89A945-E419-4319-80D2-C1034673F47F}" dt="2023-12-20T13:30:12.998" v="4664"/>
          <ac:spMkLst>
            <pc:docMk/>
            <pc:sldMk cId="1153576615" sldId="2147375801"/>
            <ac:spMk id="172" creationId="{AAA546B4-9B07-84AA-5FEA-82E42E63D84E}"/>
          </ac:spMkLst>
        </pc:spChg>
        <pc:spChg chg="mod ord">
          <ac:chgData name="Leticia Silva" userId="ae98470f-b13e-4231-82f5-fda0897d4c9b" providerId="ADAL" clId="{7A89A945-E419-4319-80D2-C1034673F47F}" dt="2023-12-20T13:30:12.998" v="4662"/>
          <ac:spMkLst>
            <pc:docMk/>
            <pc:sldMk cId="1153576615" sldId="2147375801"/>
            <ac:spMk id="173" creationId="{F4AEE105-9B71-0CB1-831A-1EDB89A83E85}"/>
          </ac:spMkLst>
        </pc:spChg>
        <pc:spChg chg="mod ord">
          <ac:chgData name="Leticia Silva" userId="ae98470f-b13e-4231-82f5-fda0897d4c9b" providerId="ADAL" clId="{7A89A945-E419-4319-80D2-C1034673F47F}" dt="2023-12-20T13:30:12.999" v="4668"/>
          <ac:spMkLst>
            <pc:docMk/>
            <pc:sldMk cId="1153576615" sldId="2147375801"/>
            <ac:spMk id="174" creationId="{9FC3E839-21E3-88BF-6C37-F52BEDD17A3B}"/>
          </ac:spMkLst>
        </pc:spChg>
        <pc:spChg chg="mod ord">
          <ac:chgData name="Leticia Silva" userId="ae98470f-b13e-4231-82f5-fda0897d4c9b" providerId="ADAL" clId="{7A89A945-E419-4319-80D2-C1034673F47F}" dt="2023-12-20T13:30:12.999" v="4666"/>
          <ac:spMkLst>
            <pc:docMk/>
            <pc:sldMk cId="1153576615" sldId="2147375801"/>
            <ac:spMk id="175" creationId="{92744EA8-F595-691D-D02A-2B5D0D535903}"/>
          </ac:spMkLst>
        </pc:spChg>
        <pc:spChg chg="mod ord">
          <ac:chgData name="Leticia Silva" userId="ae98470f-b13e-4231-82f5-fda0897d4c9b" providerId="ADAL" clId="{7A89A945-E419-4319-80D2-C1034673F47F}" dt="2023-12-20T13:30:12.999" v="4670"/>
          <ac:spMkLst>
            <pc:docMk/>
            <pc:sldMk cId="1153576615" sldId="2147375801"/>
            <ac:spMk id="176" creationId="{CB7C49BD-4ABE-752E-2ED9-1D952798A2B6}"/>
          </ac:spMkLst>
        </pc:spChg>
        <pc:spChg chg="mod ord">
          <ac:chgData name="Leticia Silva" userId="ae98470f-b13e-4231-82f5-fda0897d4c9b" providerId="ADAL" clId="{7A89A945-E419-4319-80D2-C1034673F47F}" dt="2023-12-20T13:30:13" v="4672"/>
          <ac:spMkLst>
            <pc:docMk/>
            <pc:sldMk cId="1153576615" sldId="2147375801"/>
            <ac:spMk id="177" creationId="{479DB760-DAEC-1BDA-C733-E31B38BC2766}"/>
          </ac:spMkLst>
        </pc:spChg>
        <pc:spChg chg="mod">
          <ac:chgData name="Leticia Silva" userId="ae98470f-b13e-4231-82f5-fda0897d4c9b" providerId="ADAL" clId="{7A89A945-E419-4319-80D2-C1034673F47F}" dt="2023-12-20T17:51:35.659" v="5610"/>
          <ac:spMkLst>
            <pc:docMk/>
            <pc:sldMk cId="1153576615" sldId="2147375801"/>
            <ac:spMk id="183" creationId="{9A9BAA1F-09D7-8B1E-B1C5-8DEBF668C775}"/>
          </ac:spMkLst>
        </pc:spChg>
        <pc:spChg chg="mod">
          <ac:chgData name="Leticia Silva" userId="ae98470f-b13e-4231-82f5-fda0897d4c9b" providerId="ADAL" clId="{7A89A945-E419-4319-80D2-C1034673F47F}" dt="2023-12-20T17:51:35.663" v="5611"/>
          <ac:spMkLst>
            <pc:docMk/>
            <pc:sldMk cId="1153576615" sldId="2147375801"/>
            <ac:spMk id="184" creationId="{F2104CF6-917A-3790-F6A4-8B782ABB8B05}"/>
          </ac:spMkLst>
        </pc:spChg>
        <pc:spChg chg="mod ord">
          <ac:chgData name="Leticia Silva" userId="ae98470f-b13e-4231-82f5-fda0897d4c9b" providerId="ADAL" clId="{7A89A945-E419-4319-80D2-C1034673F47F}" dt="2023-12-20T17:51:35.777" v="5629" actId="948"/>
          <ac:spMkLst>
            <pc:docMk/>
            <pc:sldMk cId="1153576615" sldId="2147375801"/>
            <ac:spMk id="185" creationId="{884C5348-C0BA-0E7E-71BE-DE93859ADEA4}"/>
          </ac:spMkLst>
        </pc:spChg>
        <pc:spChg chg="mod">
          <ac:chgData name="Leticia Silva" userId="ae98470f-b13e-4231-82f5-fda0897d4c9b" providerId="ADAL" clId="{7A89A945-E419-4319-80D2-C1034673F47F}" dt="2023-12-20T17:51:35.600" v="5596"/>
          <ac:spMkLst>
            <pc:docMk/>
            <pc:sldMk cId="1153576615" sldId="2147375801"/>
            <ac:spMk id="186" creationId="{C02ED413-D73D-078C-C2D9-00BD92DF0B2A}"/>
          </ac:spMkLst>
        </pc:spChg>
        <pc:spChg chg="mod">
          <ac:chgData name="Leticia Silva" userId="ae98470f-b13e-4231-82f5-fda0897d4c9b" providerId="ADAL" clId="{7A89A945-E419-4319-80D2-C1034673F47F}" dt="2023-12-20T17:51:35.607" v="5597"/>
          <ac:spMkLst>
            <pc:docMk/>
            <pc:sldMk cId="1153576615" sldId="2147375801"/>
            <ac:spMk id="187" creationId="{D21FB80C-5AD7-9078-4926-B81CDC480187}"/>
          </ac:spMkLst>
        </pc:spChg>
        <pc:spChg chg="mod">
          <ac:chgData name="Leticia Silva" userId="ae98470f-b13e-4231-82f5-fda0897d4c9b" providerId="ADAL" clId="{7A89A945-E419-4319-80D2-C1034673F47F}" dt="2023-12-20T17:51:35.652" v="5609"/>
          <ac:spMkLst>
            <pc:docMk/>
            <pc:sldMk cId="1153576615" sldId="2147375801"/>
            <ac:spMk id="188" creationId="{97DE0388-736F-CBBC-257B-1FDC16371A7D}"/>
          </ac:spMkLst>
        </pc:spChg>
        <pc:spChg chg="mod ord">
          <ac:chgData name="Leticia Silva" userId="ae98470f-b13e-4231-82f5-fda0897d4c9b" providerId="ADAL" clId="{7A89A945-E419-4319-80D2-C1034673F47F}" dt="2023-12-20T17:51:35.779" v="5630" actId="948"/>
          <ac:spMkLst>
            <pc:docMk/>
            <pc:sldMk cId="1153576615" sldId="2147375801"/>
            <ac:spMk id="189" creationId="{035EB6C1-6AB4-1702-B7AF-330E6F55C49B}"/>
          </ac:spMkLst>
        </pc:spChg>
        <pc:spChg chg="mod">
          <ac:chgData name="Leticia Silva" userId="ae98470f-b13e-4231-82f5-fda0897d4c9b" providerId="ADAL" clId="{7A89A945-E419-4319-80D2-C1034673F47F}" dt="2023-12-20T17:51:35.648" v="5608"/>
          <ac:spMkLst>
            <pc:docMk/>
            <pc:sldMk cId="1153576615" sldId="2147375801"/>
            <ac:spMk id="190" creationId="{51FA6609-19DE-1228-FD6B-EE84C0678B7A}"/>
          </ac:spMkLst>
        </pc:spChg>
        <pc:spChg chg="mod ord">
          <ac:chgData name="Leticia Silva" userId="ae98470f-b13e-4231-82f5-fda0897d4c9b" providerId="ADAL" clId="{7A89A945-E419-4319-80D2-C1034673F47F}" dt="2023-12-20T17:51:35.829" v="5643" actId="948"/>
          <ac:spMkLst>
            <pc:docMk/>
            <pc:sldMk cId="1153576615" sldId="2147375801"/>
            <ac:spMk id="191" creationId="{C4C8E55C-E0BA-35C8-2092-6BA71F140229}"/>
          </ac:spMkLst>
        </pc:spChg>
        <pc:spChg chg="mod">
          <ac:chgData name="Leticia Silva" userId="ae98470f-b13e-4231-82f5-fda0897d4c9b" providerId="ADAL" clId="{7A89A945-E419-4319-80D2-C1034673F47F}" dt="2023-12-20T17:51:35.611" v="5598"/>
          <ac:spMkLst>
            <pc:docMk/>
            <pc:sldMk cId="1153576615" sldId="2147375801"/>
            <ac:spMk id="192" creationId="{0627B7B6-BB7C-81FB-6E6C-6FFF10135AE7}"/>
          </ac:spMkLst>
        </pc:spChg>
        <pc:spChg chg="mod">
          <ac:chgData name="Leticia Silva" userId="ae98470f-b13e-4231-82f5-fda0897d4c9b" providerId="ADAL" clId="{7A89A945-E419-4319-80D2-C1034673F47F}" dt="2023-12-20T17:51:35.615" v="5599"/>
          <ac:spMkLst>
            <pc:docMk/>
            <pc:sldMk cId="1153576615" sldId="2147375801"/>
            <ac:spMk id="193" creationId="{4598ACE7-E4E8-C946-66FB-465A8A425F05}"/>
          </ac:spMkLst>
        </pc:spChg>
        <pc:spChg chg="mod ord">
          <ac:chgData name="Leticia Silva" userId="ae98470f-b13e-4231-82f5-fda0897d4c9b" providerId="ADAL" clId="{7A89A945-E419-4319-80D2-C1034673F47F}" dt="2023-12-20T17:51:35.790" v="5633" actId="948"/>
          <ac:spMkLst>
            <pc:docMk/>
            <pc:sldMk cId="1153576615" sldId="2147375801"/>
            <ac:spMk id="194" creationId="{ACE3B69E-3DE9-CDF2-958F-770A00666A54}"/>
          </ac:spMkLst>
        </pc:spChg>
        <pc:spChg chg="mod ord">
          <ac:chgData name="Leticia Silva" userId="ae98470f-b13e-4231-82f5-fda0897d4c9b" providerId="ADAL" clId="{7A89A945-E419-4319-80D2-C1034673F47F}" dt="2023-12-20T17:51:35.795" v="5634" actId="948"/>
          <ac:spMkLst>
            <pc:docMk/>
            <pc:sldMk cId="1153576615" sldId="2147375801"/>
            <ac:spMk id="195" creationId="{06B387D1-3A97-B219-3F48-927C5D2A1ADF}"/>
          </ac:spMkLst>
        </pc:spChg>
        <pc:spChg chg="mod ord">
          <ac:chgData name="Leticia Silva" userId="ae98470f-b13e-4231-82f5-fda0897d4c9b" providerId="ADAL" clId="{7A89A945-E419-4319-80D2-C1034673F47F}" dt="2023-12-20T17:51:35.773" v="5628" actId="948"/>
          <ac:spMkLst>
            <pc:docMk/>
            <pc:sldMk cId="1153576615" sldId="2147375801"/>
            <ac:spMk id="196" creationId="{51C43697-72F2-C1F4-ABE8-F94FC6487388}"/>
          </ac:spMkLst>
        </pc:spChg>
        <pc:spChg chg="mod ord">
          <ac:chgData name="Leticia Silva" userId="ae98470f-b13e-4231-82f5-fda0897d4c9b" providerId="ADAL" clId="{7A89A945-E419-4319-80D2-C1034673F47F}" dt="2023-12-20T17:51:35.799" v="5635" actId="948"/>
          <ac:spMkLst>
            <pc:docMk/>
            <pc:sldMk cId="1153576615" sldId="2147375801"/>
            <ac:spMk id="197" creationId="{A784FDA2-C8C4-895A-B9AF-D100D475D14F}"/>
          </ac:spMkLst>
        </pc:spChg>
        <pc:spChg chg="mod ord">
          <ac:chgData name="Leticia Silva" userId="ae98470f-b13e-4231-82f5-fda0897d4c9b" providerId="ADAL" clId="{7A89A945-E419-4319-80D2-C1034673F47F}" dt="2023-12-20T17:51:35.802" v="5636" actId="948"/>
          <ac:spMkLst>
            <pc:docMk/>
            <pc:sldMk cId="1153576615" sldId="2147375801"/>
            <ac:spMk id="198" creationId="{2BCE3631-1361-98FD-A51E-07F966FF261B}"/>
          </ac:spMkLst>
        </pc:spChg>
        <pc:spChg chg="mod ord">
          <ac:chgData name="Leticia Silva" userId="ae98470f-b13e-4231-82f5-fda0897d4c9b" providerId="ADAL" clId="{7A89A945-E419-4319-80D2-C1034673F47F}" dt="2023-12-20T17:51:35.782" v="5631" actId="948"/>
          <ac:spMkLst>
            <pc:docMk/>
            <pc:sldMk cId="1153576615" sldId="2147375801"/>
            <ac:spMk id="199" creationId="{2C8608AF-7A34-9CCB-03CF-6D48C9D9C635}"/>
          </ac:spMkLst>
        </pc:spChg>
        <pc:spChg chg="mod ord">
          <ac:chgData name="Leticia Silva" userId="ae98470f-b13e-4231-82f5-fda0897d4c9b" providerId="ADAL" clId="{7A89A945-E419-4319-80D2-C1034673F47F}" dt="2023-12-20T17:51:35.785" v="5632" actId="948"/>
          <ac:spMkLst>
            <pc:docMk/>
            <pc:sldMk cId="1153576615" sldId="2147375801"/>
            <ac:spMk id="200" creationId="{FB0A17AC-9CAF-81D0-4776-C6F21AFDD656}"/>
          </ac:spMkLst>
        </pc:spChg>
        <pc:spChg chg="mod">
          <ac:chgData name="Leticia Silva" userId="ae98470f-b13e-4231-82f5-fda0897d4c9b" providerId="ADAL" clId="{7A89A945-E419-4319-80D2-C1034673F47F}" dt="2023-12-20T17:51:35.619" v="5600"/>
          <ac:spMkLst>
            <pc:docMk/>
            <pc:sldMk cId="1153576615" sldId="2147375801"/>
            <ac:spMk id="201" creationId="{70AE1997-CEFA-0550-09B2-AC30B60C99BB}"/>
          </ac:spMkLst>
        </pc:spChg>
        <pc:spChg chg="mod">
          <ac:chgData name="Leticia Silva" userId="ae98470f-b13e-4231-82f5-fda0897d4c9b" providerId="ADAL" clId="{7A89A945-E419-4319-80D2-C1034673F47F}" dt="2023-12-20T17:51:35.623" v="5601"/>
          <ac:spMkLst>
            <pc:docMk/>
            <pc:sldMk cId="1153576615" sldId="2147375801"/>
            <ac:spMk id="202" creationId="{441CDD02-7FF6-4D52-4E60-FE9D1E60F9E8}"/>
          </ac:spMkLst>
        </pc:spChg>
        <pc:spChg chg="mod ord">
          <ac:chgData name="Leticia Silva" userId="ae98470f-b13e-4231-82f5-fda0897d4c9b" providerId="ADAL" clId="{7A89A945-E419-4319-80D2-C1034673F47F}" dt="2023-12-20T17:51:35.807" v="5637" actId="948"/>
          <ac:spMkLst>
            <pc:docMk/>
            <pc:sldMk cId="1153576615" sldId="2147375801"/>
            <ac:spMk id="203" creationId="{629C854D-0B31-D4C4-452B-089A7007C9AD}"/>
          </ac:spMkLst>
        </pc:spChg>
        <pc:spChg chg="mod ord">
          <ac:chgData name="Leticia Silva" userId="ae98470f-b13e-4231-82f5-fda0897d4c9b" providerId="ADAL" clId="{7A89A945-E419-4319-80D2-C1034673F47F}" dt="2023-12-20T17:51:35.770" v="5627" actId="948"/>
          <ac:spMkLst>
            <pc:docMk/>
            <pc:sldMk cId="1153576615" sldId="2147375801"/>
            <ac:spMk id="204" creationId="{EDEF86AF-0172-CF69-A7A5-7C3A847A440A}"/>
          </ac:spMkLst>
        </pc:spChg>
        <pc:spChg chg="mod ord">
          <ac:chgData name="Leticia Silva" userId="ae98470f-b13e-4231-82f5-fda0897d4c9b" providerId="ADAL" clId="{7A89A945-E419-4319-80D2-C1034673F47F}" dt="2023-12-20T17:51:35.810" v="5638" actId="948"/>
          <ac:spMkLst>
            <pc:docMk/>
            <pc:sldMk cId="1153576615" sldId="2147375801"/>
            <ac:spMk id="205" creationId="{85681A62-662B-7928-3D27-1F9E4F39041C}"/>
          </ac:spMkLst>
        </pc:spChg>
        <pc:spChg chg="mod">
          <ac:chgData name="Leticia Silva" userId="ae98470f-b13e-4231-82f5-fda0897d4c9b" providerId="ADAL" clId="{7A89A945-E419-4319-80D2-C1034673F47F}" dt="2023-12-20T17:51:35.736" v="5619"/>
          <ac:spMkLst>
            <pc:docMk/>
            <pc:sldMk cId="1153576615" sldId="2147375801"/>
            <ac:spMk id="206" creationId="{2B79506E-A8E7-FBD6-A537-ABF52EB1D5F2}"/>
          </ac:spMkLst>
        </pc:spChg>
        <pc:spChg chg="mod">
          <ac:chgData name="Leticia Silva" userId="ae98470f-b13e-4231-82f5-fda0897d4c9b" providerId="ADAL" clId="{7A89A945-E419-4319-80D2-C1034673F47F}" dt="2023-12-20T17:51:35.744" v="5620"/>
          <ac:spMkLst>
            <pc:docMk/>
            <pc:sldMk cId="1153576615" sldId="2147375801"/>
            <ac:spMk id="207" creationId="{3097D361-17F4-7D66-C491-B7628D2B1622}"/>
          </ac:spMkLst>
        </pc:spChg>
        <pc:spChg chg="mod">
          <ac:chgData name="Leticia Silva" userId="ae98470f-b13e-4231-82f5-fda0897d4c9b" providerId="ADAL" clId="{7A89A945-E419-4319-80D2-C1034673F47F}" dt="2023-12-20T17:51:35.581" v="5592"/>
          <ac:spMkLst>
            <pc:docMk/>
            <pc:sldMk cId="1153576615" sldId="2147375801"/>
            <ac:spMk id="208" creationId="{1AA41FED-03C5-BC83-D312-32674460613E}"/>
          </ac:spMkLst>
        </pc:spChg>
        <pc:spChg chg="mod">
          <ac:chgData name="Leticia Silva" userId="ae98470f-b13e-4231-82f5-fda0897d4c9b" providerId="ADAL" clId="{7A89A945-E419-4319-80D2-C1034673F47F}" dt="2023-12-20T17:51:35.626" v="5602"/>
          <ac:spMkLst>
            <pc:docMk/>
            <pc:sldMk cId="1153576615" sldId="2147375801"/>
            <ac:spMk id="209" creationId="{88D7C035-6697-6B57-302F-DD1DE4C2CCED}"/>
          </ac:spMkLst>
        </pc:spChg>
        <pc:spChg chg="mod">
          <ac:chgData name="Leticia Silva" userId="ae98470f-b13e-4231-82f5-fda0897d4c9b" providerId="ADAL" clId="{7A89A945-E419-4319-80D2-C1034673F47F}" dt="2023-12-20T17:51:35.631" v="5603"/>
          <ac:spMkLst>
            <pc:docMk/>
            <pc:sldMk cId="1153576615" sldId="2147375801"/>
            <ac:spMk id="210" creationId="{E3A33267-C59E-A49C-FF23-016C73D2BED7}"/>
          </ac:spMkLst>
        </pc:spChg>
        <pc:spChg chg="mod">
          <ac:chgData name="Leticia Silva" userId="ae98470f-b13e-4231-82f5-fda0897d4c9b" providerId="ADAL" clId="{7A89A945-E419-4319-80D2-C1034673F47F}" dt="2023-12-20T17:51:35.684" v="5613"/>
          <ac:spMkLst>
            <pc:docMk/>
            <pc:sldMk cId="1153576615" sldId="2147375801"/>
            <ac:spMk id="211" creationId="{F15E9EEF-0633-10F9-4247-238B0C3EC814}"/>
          </ac:spMkLst>
        </pc:spChg>
        <pc:spChg chg="mod">
          <ac:chgData name="Leticia Silva" userId="ae98470f-b13e-4231-82f5-fda0897d4c9b" providerId="ADAL" clId="{7A89A945-E419-4319-80D2-C1034673F47F}" dt="2023-12-20T17:51:35.690" v="5614"/>
          <ac:spMkLst>
            <pc:docMk/>
            <pc:sldMk cId="1153576615" sldId="2147375801"/>
            <ac:spMk id="212" creationId="{75FFA771-5672-4EDD-86DB-1B3D70C6F7C3}"/>
          </ac:spMkLst>
        </pc:spChg>
        <pc:spChg chg="mod ord">
          <ac:chgData name="Leticia Silva" userId="ae98470f-b13e-4231-82f5-fda0897d4c9b" providerId="ADAL" clId="{7A89A945-E419-4319-80D2-C1034673F47F}" dt="2023-12-20T17:51:35.763" v="5625" actId="948"/>
          <ac:spMkLst>
            <pc:docMk/>
            <pc:sldMk cId="1153576615" sldId="2147375801"/>
            <ac:spMk id="213" creationId="{096B65FE-535D-F854-B06F-15F002AD215E}"/>
          </ac:spMkLst>
        </pc:spChg>
        <pc:spChg chg="mod">
          <ac:chgData name="Leticia Silva" userId="ae98470f-b13e-4231-82f5-fda0897d4c9b" providerId="ADAL" clId="{7A89A945-E419-4319-80D2-C1034673F47F}" dt="2023-12-20T17:51:35.594" v="5595"/>
          <ac:spMkLst>
            <pc:docMk/>
            <pc:sldMk cId="1153576615" sldId="2147375801"/>
            <ac:spMk id="214" creationId="{C6644BF3-FEF7-1F40-4852-D5F5CACFFBBD}"/>
          </ac:spMkLst>
        </pc:spChg>
        <pc:spChg chg="mod">
          <ac:chgData name="Leticia Silva" userId="ae98470f-b13e-4231-82f5-fda0897d4c9b" providerId="ADAL" clId="{7A89A945-E419-4319-80D2-C1034673F47F}" dt="2023-12-20T17:51:35.636" v="5604"/>
          <ac:spMkLst>
            <pc:docMk/>
            <pc:sldMk cId="1153576615" sldId="2147375801"/>
            <ac:spMk id="215" creationId="{036710C5-7AFD-D9FD-3415-6C5B5857493D}"/>
          </ac:spMkLst>
        </pc:spChg>
        <pc:spChg chg="mod">
          <ac:chgData name="Leticia Silva" userId="ae98470f-b13e-4231-82f5-fda0897d4c9b" providerId="ADAL" clId="{7A89A945-E419-4319-80D2-C1034673F47F}" dt="2023-12-20T17:51:35.639" v="5605"/>
          <ac:spMkLst>
            <pc:docMk/>
            <pc:sldMk cId="1153576615" sldId="2147375801"/>
            <ac:spMk id="216" creationId="{E8379A6A-EC3B-5D77-DFDC-9CE9117ECF9C}"/>
          </ac:spMkLst>
        </pc:spChg>
        <pc:spChg chg="mod">
          <ac:chgData name="Leticia Silva" userId="ae98470f-b13e-4231-82f5-fda0897d4c9b" providerId="ADAL" clId="{7A89A945-E419-4319-80D2-C1034673F47F}" dt="2023-12-20T17:51:35.591" v="5594"/>
          <ac:spMkLst>
            <pc:docMk/>
            <pc:sldMk cId="1153576615" sldId="2147375801"/>
            <ac:spMk id="217" creationId="{6761600B-1A54-7531-364B-B8CE8C5A35B2}"/>
          </ac:spMkLst>
        </pc:spChg>
        <pc:spChg chg="mod">
          <ac:chgData name="Leticia Silva" userId="ae98470f-b13e-4231-82f5-fda0897d4c9b" providerId="ADAL" clId="{7A89A945-E419-4319-80D2-C1034673F47F}" dt="2023-12-20T17:51:35.697" v="5616"/>
          <ac:spMkLst>
            <pc:docMk/>
            <pc:sldMk cId="1153576615" sldId="2147375801"/>
            <ac:spMk id="218" creationId="{C1E93EA5-D967-8B4C-9762-07C5172A76A0}"/>
          </ac:spMkLst>
        </pc:spChg>
        <pc:spChg chg="mod ord">
          <ac:chgData name="Leticia Silva" userId="ae98470f-b13e-4231-82f5-fda0897d4c9b" providerId="ADAL" clId="{7A89A945-E419-4319-80D2-C1034673F47F}" dt="2023-12-20T17:51:35.759" v="5624" actId="948"/>
          <ac:spMkLst>
            <pc:docMk/>
            <pc:sldMk cId="1153576615" sldId="2147375801"/>
            <ac:spMk id="219" creationId="{FDAC1C35-78B8-2D7D-E6EE-ADB1D9D1935D}"/>
          </ac:spMkLst>
        </pc:spChg>
        <pc:spChg chg="mod ord">
          <ac:chgData name="Leticia Silva" userId="ae98470f-b13e-4231-82f5-fda0897d4c9b" providerId="ADAL" clId="{7A89A945-E419-4319-80D2-C1034673F47F}" dt="2023-12-20T17:51:35.767" v="5626" actId="948"/>
          <ac:spMkLst>
            <pc:docMk/>
            <pc:sldMk cId="1153576615" sldId="2147375801"/>
            <ac:spMk id="220" creationId="{1833FF99-8D2D-786C-7715-F944B5256C56}"/>
          </ac:spMkLst>
        </pc:spChg>
        <pc:spChg chg="mod ord">
          <ac:chgData name="Leticia Silva" userId="ae98470f-b13e-4231-82f5-fda0897d4c9b" providerId="ADAL" clId="{7A89A945-E419-4319-80D2-C1034673F47F}" dt="2023-12-20T17:51:35.756" v="5623" actId="948"/>
          <ac:spMkLst>
            <pc:docMk/>
            <pc:sldMk cId="1153576615" sldId="2147375801"/>
            <ac:spMk id="221" creationId="{93AF85C3-9FD6-C93B-4B17-E9261A3279A7}"/>
          </ac:spMkLst>
        </pc:spChg>
        <pc:spChg chg="mod ord">
          <ac:chgData name="Leticia Silva" userId="ae98470f-b13e-4231-82f5-fda0897d4c9b" providerId="ADAL" clId="{7A89A945-E419-4319-80D2-C1034673F47F}" dt="2023-12-20T17:51:35.816" v="5639" actId="948"/>
          <ac:spMkLst>
            <pc:docMk/>
            <pc:sldMk cId="1153576615" sldId="2147375801"/>
            <ac:spMk id="222" creationId="{4A1C5338-4711-3890-87DE-70F02EB0FC19}"/>
          </ac:spMkLst>
        </pc:spChg>
        <pc:spChg chg="mod">
          <ac:chgData name="Leticia Silva" userId="ae98470f-b13e-4231-82f5-fda0897d4c9b" providerId="ADAL" clId="{7A89A945-E419-4319-80D2-C1034673F47F}" dt="2023-12-20T17:51:35.693" v="5615"/>
          <ac:spMkLst>
            <pc:docMk/>
            <pc:sldMk cId="1153576615" sldId="2147375801"/>
            <ac:spMk id="223" creationId="{61110FBE-D1EA-21C7-FCC4-EECDF965F845}"/>
          </ac:spMkLst>
        </pc:spChg>
        <pc:spChg chg="mod ord">
          <ac:chgData name="Leticia Silva" userId="ae98470f-b13e-4231-82f5-fda0897d4c9b" providerId="ADAL" clId="{7A89A945-E419-4319-80D2-C1034673F47F}" dt="2023-12-20T17:51:35.819" v="5640" actId="948"/>
          <ac:spMkLst>
            <pc:docMk/>
            <pc:sldMk cId="1153576615" sldId="2147375801"/>
            <ac:spMk id="224" creationId="{9BD22188-5E0C-6FE8-CB73-C150AD198E64}"/>
          </ac:spMkLst>
        </pc:spChg>
        <pc:spChg chg="mod ord">
          <ac:chgData name="Leticia Silva" userId="ae98470f-b13e-4231-82f5-fda0897d4c9b" providerId="ADAL" clId="{7A89A945-E419-4319-80D2-C1034673F47F}" dt="2023-12-20T17:51:35.752" v="5622" actId="948"/>
          <ac:spMkLst>
            <pc:docMk/>
            <pc:sldMk cId="1153576615" sldId="2147375801"/>
            <ac:spMk id="225" creationId="{B5D40066-A437-650A-8418-6A64230EBE39}"/>
          </ac:spMkLst>
        </pc:spChg>
        <pc:spChg chg="mod ord">
          <ac:chgData name="Leticia Silva" userId="ae98470f-b13e-4231-82f5-fda0897d4c9b" providerId="ADAL" clId="{7A89A945-E419-4319-80D2-C1034673F47F}" dt="2023-12-20T17:51:35.822" v="5641" actId="948"/>
          <ac:spMkLst>
            <pc:docMk/>
            <pc:sldMk cId="1153576615" sldId="2147375801"/>
            <ac:spMk id="226" creationId="{45CC8D9F-9AC6-27ED-2F10-FCC808E8F121}"/>
          </ac:spMkLst>
        </pc:spChg>
        <pc:spChg chg="mod">
          <ac:chgData name="Leticia Silva" userId="ae98470f-b13e-4231-82f5-fda0897d4c9b" providerId="ADAL" clId="{7A89A945-E419-4319-80D2-C1034673F47F}" dt="2023-12-20T17:51:35.587" v="5593"/>
          <ac:spMkLst>
            <pc:docMk/>
            <pc:sldMk cId="1153576615" sldId="2147375801"/>
            <ac:spMk id="227" creationId="{C61B0CE8-5F64-5C61-4ACA-0474E76273B6}"/>
          </ac:spMkLst>
        </pc:spChg>
        <pc:spChg chg="mod">
          <ac:chgData name="Leticia Silva" userId="ae98470f-b13e-4231-82f5-fda0897d4c9b" providerId="ADAL" clId="{7A89A945-E419-4319-80D2-C1034673F47F}" dt="2023-12-20T17:51:35.643" v="5606"/>
          <ac:spMkLst>
            <pc:docMk/>
            <pc:sldMk cId="1153576615" sldId="2147375801"/>
            <ac:spMk id="228" creationId="{B102C272-A580-342D-4105-FAE407A51A82}"/>
          </ac:spMkLst>
        </pc:spChg>
        <pc:spChg chg="mod">
          <ac:chgData name="Leticia Silva" userId="ae98470f-b13e-4231-82f5-fda0897d4c9b" providerId="ADAL" clId="{7A89A945-E419-4319-80D2-C1034673F47F}" dt="2023-12-20T17:51:35.644" v="5607"/>
          <ac:spMkLst>
            <pc:docMk/>
            <pc:sldMk cId="1153576615" sldId="2147375801"/>
            <ac:spMk id="229" creationId="{8C06AF2E-5E77-3F4D-343E-042F5D31917B}"/>
          </ac:spMkLst>
        </pc:spChg>
        <pc:spChg chg="mod">
          <ac:chgData name="Leticia Silva" userId="ae98470f-b13e-4231-82f5-fda0897d4c9b" providerId="ADAL" clId="{7A89A945-E419-4319-80D2-C1034673F47F}" dt="2023-12-20T17:51:35.667" v="5612"/>
          <ac:spMkLst>
            <pc:docMk/>
            <pc:sldMk cId="1153576615" sldId="2147375801"/>
            <ac:spMk id="230" creationId="{0488A16A-BD63-4D0A-3932-59B1E6A51CEC}"/>
          </ac:spMkLst>
        </pc:spChg>
        <pc:spChg chg="mod">
          <ac:chgData name="Leticia Silva" userId="ae98470f-b13e-4231-82f5-fda0897d4c9b" providerId="ADAL" clId="{7A89A945-E419-4319-80D2-C1034673F47F}" dt="2023-12-20T17:51:35.700" v="5617"/>
          <ac:spMkLst>
            <pc:docMk/>
            <pc:sldMk cId="1153576615" sldId="2147375801"/>
            <ac:spMk id="231" creationId="{C0D1B7CF-1369-BBE5-D499-060ACBD8770F}"/>
          </ac:spMkLst>
        </pc:spChg>
        <pc:spChg chg="mod ord">
          <ac:chgData name="Leticia Silva" userId="ae98470f-b13e-4231-82f5-fda0897d4c9b" providerId="ADAL" clId="{7A89A945-E419-4319-80D2-C1034673F47F}" dt="2023-12-20T17:51:35.748" v="5621" actId="948"/>
          <ac:spMkLst>
            <pc:docMk/>
            <pc:sldMk cId="1153576615" sldId="2147375801"/>
            <ac:spMk id="232" creationId="{88A9019B-D5E4-8402-6AB3-396D79C9C0B5}"/>
          </ac:spMkLst>
        </pc:spChg>
        <pc:spChg chg="mod">
          <ac:chgData name="Leticia Silva" userId="ae98470f-b13e-4231-82f5-fda0897d4c9b" providerId="ADAL" clId="{7A89A945-E419-4319-80D2-C1034673F47F}" dt="2023-12-20T17:51:35.724" v="5618"/>
          <ac:spMkLst>
            <pc:docMk/>
            <pc:sldMk cId="1153576615" sldId="2147375801"/>
            <ac:spMk id="233" creationId="{80E286B3-F992-9B26-E600-A76916BA4565}"/>
          </ac:spMkLst>
        </pc:spChg>
        <pc:spChg chg="mod ord">
          <ac:chgData name="Leticia Silva" userId="ae98470f-b13e-4231-82f5-fda0897d4c9b" providerId="ADAL" clId="{7A89A945-E419-4319-80D2-C1034673F47F}" dt="2023-12-20T17:51:35.826" v="5642" actId="948"/>
          <ac:spMkLst>
            <pc:docMk/>
            <pc:sldMk cId="1153576615" sldId="2147375801"/>
            <ac:spMk id="234" creationId="{C29B1944-A66B-21F3-1F2B-9E24C8589D28}"/>
          </ac:spMkLst>
        </pc:spChg>
        <pc:spChg chg="mod ord">
          <ac:chgData name="Leticia Silva" userId="ae98470f-b13e-4231-82f5-fda0897d4c9b" providerId="ADAL" clId="{7A89A945-E419-4319-80D2-C1034673F47F}" dt="2023-12-20T13:30:13.027" v="4757"/>
          <ac:spMkLst>
            <pc:docMk/>
            <pc:sldMk cId="1153576615" sldId="2147375801"/>
            <ac:spMk id="235" creationId="{5E438BEC-4BD3-A418-3F88-12449881EAC5}"/>
          </ac:spMkLst>
        </pc:spChg>
        <pc:spChg chg="mod ord">
          <ac:chgData name="Leticia Silva" userId="ae98470f-b13e-4231-82f5-fda0897d4c9b" providerId="ADAL" clId="{7A89A945-E419-4319-80D2-C1034673F47F}" dt="2023-12-20T13:30:13.027" v="4759"/>
          <ac:spMkLst>
            <pc:docMk/>
            <pc:sldMk cId="1153576615" sldId="2147375801"/>
            <ac:spMk id="236" creationId="{9131EAC4-935E-B23B-E718-ADCC2EA6EA52}"/>
          </ac:spMkLst>
        </pc:spChg>
        <pc:spChg chg="mod ord">
          <ac:chgData name="Leticia Silva" userId="ae98470f-b13e-4231-82f5-fda0897d4c9b" providerId="ADAL" clId="{7A89A945-E419-4319-80D2-C1034673F47F}" dt="2023-12-20T13:30:13.027" v="4761"/>
          <ac:spMkLst>
            <pc:docMk/>
            <pc:sldMk cId="1153576615" sldId="2147375801"/>
            <ac:spMk id="237" creationId="{DEA4C876-002D-4C51-7155-8C41C7B2B5D2}"/>
          </ac:spMkLst>
        </pc:spChg>
        <pc:spChg chg="mod ord">
          <ac:chgData name="Leticia Silva" userId="ae98470f-b13e-4231-82f5-fda0897d4c9b" providerId="ADAL" clId="{7A89A945-E419-4319-80D2-C1034673F47F}" dt="2023-12-20T13:30:13.028" v="4763"/>
          <ac:spMkLst>
            <pc:docMk/>
            <pc:sldMk cId="1153576615" sldId="2147375801"/>
            <ac:spMk id="238" creationId="{7E18CEDC-908C-96BB-B185-1C4D431E6091}"/>
          </ac:spMkLst>
        </pc:spChg>
        <pc:spChg chg="mod">
          <ac:chgData name="Leticia Silva" userId="ae98470f-b13e-4231-82f5-fda0897d4c9b" providerId="ADAL" clId="{7A89A945-E419-4319-80D2-C1034673F47F}" dt="2023-12-20T17:51:36.297" v="5703"/>
          <ac:spMkLst>
            <pc:docMk/>
            <pc:sldMk cId="1153576615" sldId="2147375801"/>
            <ac:spMk id="240" creationId="{E98F4AA2-3E73-A36A-A874-158E9775A76D}"/>
          </ac:spMkLst>
        </pc:spChg>
        <pc:spChg chg="mod">
          <ac:chgData name="Leticia Silva" userId="ae98470f-b13e-4231-82f5-fda0897d4c9b" providerId="ADAL" clId="{7A89A945-E419-4319-80D2-C1034673F47F}" dt="2023-12-20T17:51:36.302" v="5705"/>
          <ac:spMkLst>
            <pc:docMk/>
            <pc:sldMk cId="1153576615" sldId="2147375801"/>
            <ac:spMk id="241" creationId="{86B7510F-D361-5476-EA8A-7CB320AAC9B0}"/>
          </ac:spMkLst>
        </pc:spChg>
        <pc:spChg chg="add del mod modVis">
          <ac:chgData name="Leticia Silva" userId="ae98470f-b13e-4231-82f5-fda0897d4c9b" providerId="ADAL" clId="{7A89A945-E419-4319-80D2-C1034673F47F}" dt="2023-12-20T13:29:45.589" v="4066"/>
          <ac:spMkLst>
            <pc:docMk/>
            <pc:sldMk cId="1153576615" sldId="2147375801"/>
            <ac:spMk id="250" creationId="{F02CDAA4-294F-9679-E7B5-D0D7C2702AE4}"/>
          </ac:spMkLst>
        </pc:spChg>
        <pc:spChg chg="mod ord">
          <ac:chgData name="Leticia Silva" userId="ae98470f-b13e-4231-82f5-fda0897d4c9b" providerId="ADAL" clId="{7A89A945-E419-4319-80D2-C1034673F47F}" dt="2023-12-20T13:30:13.028" v="4765"/>
          <ac:spMkLst>
            <pc:docMk/>
            <pc:sldMk cId="1153576615" sldId="2147375801"/>
            <ac:spMk id="251" creationId="{B3D6CAEB-6ED9-788B-6FA2-01A7425EDDBD}"/>
          </ac:spMkLst>
        </pc:spChg>
        <pc:spChg chg="mod ord">
          <ac:chgData name="Leticia Silva" userId="ae98470f-b13e-4231-82f5-fda0897d4c9b" providerId="ADAL" clId="{7A89A945-E419-4319-80D2-C1034673F47F}" dt="2023-12-20T13:30:13.029" v="4767"/>
          <ac:spMkLst>
            <pc:docMk/>
            <pc:sldMk cId="1153576615" sldId="2147375801"/>
            <ac:spMk id="252" creationId="{2171171C-BB55-B20E-8D3F-9FB11697DC08}"/>
          </ac:spMkLst>
        </pc:spChg>
        <pc:spChg chg="mod ord">
          <ac:chgData name="Leticia Silva" userId="ae98470f-b13e-4231-82f5-fda0897d4c9b" providerId="ADAL" clId="{7A89A945-E419-4319-80D2-C1034673F47F}" dt="2023-12-20T13:30:13.029" v="4769"/>
          <ac:spMkLst>
            <pc:docMk/>
            <pc:sldMk cId="1153576615" sldId="2147375801"/>
            <ac:spMk id="253" creationId="{12816B29-CB98-76E2-107F-A1BD7A060483}"/>
          </ac:spMkLst>
        </pc:spChg>
        <pc:spChg chg="add del mod modVis">
          <ac:chgData name="Leticia Silva" userId="ae98470f-b13e-4231-82f5-fda0897d4c9b" providerId="ADAL" clId="{7A89A945-E419-4319-80D2-C1034673F47F}" dt="2023-12-20T13:30:13.039" v="4797"/>
          <ac:spMkLst>
            <pc:docMk/>
            <pc:sldMk cId="1153576615" sldId="2147375801"/>
            <ac:spMk id="254" creationId="{6DBEA53A-0159-1430-EE50-6994A93C1539}"/>
          </ac:spMkLst>
        </pc:spChg>
        <pc:spChg chg="mod ord">
          <ac:chgData name="Leticia Silva" userId="ae98470f-b13e-4231-82f5-fda0897d4c9b" providerId="ADAL" clId="{7A89A945-E419-4319-80D2-C1034673F47F}" dt="2023-12-20T13:30:13.030" v="4771"/>
          <ac:spMkLst>
            <pc:docMk/>
            <pc:sldMk cId="1153576615" sldId="2147375801"/>
            <ac:spMk id="268" creationId="{1F9821D8-1457-4261-04D3-F0F241577D8C}"/>
          </ac:spMkLst>
        </pc:spChg>
        <pc:spChg chg="mod ord">
          <ac:chgData name="Leticia Silva" userId="ae98470f-b13e-4231-82f5-fda0897d4c9b" providerId="ADAL" clId="{7A89A945-E419-4319-80D2-C1034673F47F}" dt="2023-12-20T13:30:13.030" v="4773"/>
          <ac:spMkLst>
            <pc:docMk/>
            <pc:sldMk cId="1153576615" sldId="2147375801"/>
            <ac:spMk id="269" creationId="{D5DAC934-530E-927F-F028-6A1A311501A1}"/>
          </ac:spMkLst>
        </pc:spChg>
        <pc:spChg chg="mod ord">
          <ac:chgData name="Leticia Silva" userId="ae98470f-b13e-4231-82f5-fda0897d4c9b" providerId="ADAL" clId="{7A89A945-E419-4319-80D2-C1034673F47F}" dt="2023-12-20T13:30:13.031" v="4775"/>
          <ac:spMkLst>
            <pc:docMk/>
            <pc:sldMk cId="1153576615" sldId="2147375801"/>
            <ac:spMk id="270" creationId="{AE58B650-B18C-5237-1F84-5861D4B0C189}"/>
          </ac:spMkLst>
        </pc:spChg>
        <pc:spChg chg="mod ord">
          <ac:chgData name="Leticia Silva" userId="ae98470f-b13e-4231-82f5-fda0897d4c9b" providerId="ADAL" clId="{7A89A945-E419-4319-80D2-C1034673F47F}" dt="2023-12-20T13:30:13.032" v="4777"/>
          <ac:spMkLst>
            <pc:docMk/>
            <pc:sldMk cId="1153576615" sldId="2147375801"/>
            <ac:spMk id="271" creationId="{326E7FF3-A65C-90B8-3712-B0CDF372E713}"/>
          </ac:spMkLst>
        </pc:spChg>
        <pc:spChg chg="mod ord">
          <ac:chgData name="Leticia Silva" userId="ae98470f-b13e-4231-82f5-fda0897d4c9b" providerId="ADAL" clId="{7A89A945-E419-4319-80D2-C1034673F47F}" dt="2023-12-20T13:30:13.032" v="4779"/>
          <ac:spMkLst>
            <pc:docMk/>
            <pc:sldMk cId="1153576615" sldId="2147375801"/>
            <ac:spMk id="272" creationId="{9122A9EB-2F97-8F7A-CDD4-A2712600665B}"/>
          </ac:spMkLst>
        </pc:spChg>
        <pc:spChg chg="mod ord">
          <ac:chgData name="Leticia Silva" userId="ae98470f-b13e-4231-82f5-fda0897d4c9b" providerId="ADAL" clId="{7A89A945-E419-4319-80D2-C1034673F47F}" dt="2023-12-20T13:30:13.033" v="4781"/>
          <ac:spMkLst>
            <pc:docMk/>
            <pc:sldMk cId="1153576615" sldId="2147375801"/>
            <ac:spMk id="273" creationId="{3CD45D32-2EE8-89D1-7C5F-F109AE4972DE}"/>
          </ac:spMkLst>
        </pc:spChg>
        <pc:spChg chg="mod ord">
          <ac:chgData name="Leticia Silva" userId="ae98470f-b13e-4231-82f5-fda0897d4c9b" providerId="ADAL" clId="{7A89A945-E419-4319-80D2-C1034673F47F}" dt="2023-12-20T13:30:13.033" v="4783"/>
          <ac:spMkLst>
            <pc:docMk/>
            <pc:sldMk cId="1153576615" sldId="2147375801"/>
            <ac:spMk id="274" creationId="{BDB44C31-B0EF-D857-54D5-BC3D0EC75299}"/>
          </ac:spMkLst>
        </pc:spChg>
        <pc:spChg chg="mod ord">
          <ac:chgData name="Leticia Silva" userId="ae98470f-b13e-4231-82f5-fda0897d4c9b" providerId="ADAL" clId="{7A89A945-E419-4319-80D2-C1034673F47F}" dt="2023-12-20T13:30:13.034" v="4785"/>
          <ac:spMkLst>
            <pc:docMk/>
            <pc:sldMk cId="1153576615" sldId="2147375801"/>
            <ac:spMk id="275" creationId="{23BA334F-6963-5040-4C6E-E2C868DA01F3}"/>
          </ac:spMkLst>
        </pc:spChg>
        <pc:spChg chg="mod ord">
          <ac:chgData name="Leticia Silva" userId="ae98470f-b13e-4231-82f5-fda0897d4c9b" providerId="ADAL" clId="{7A89A945-E419-4319-80D2-C1034673F47F}" dt="2023-12-20T13:30:13.034" v="4787"/>
          <ac:spMkLst>
            <pc:docMk/>
            <pc:sldMk cId="1153576615" sldId="2147375801"/>
            <ac:spMk id="276" creationId="{EF1BF7E6-A145-ACBB-282F-66C4BC2AE3D2}"/>
          </ac:spMkLst>
        </pc:spChg>
        <pc:spChg chg="mod ord">
          <ac:chgData name="Leticia Silva" userId="ae98470f-b13e-4231-82f5-fda0897d4c9b" providerId="ADAL" clId="{7A89A945-E419-4319-80D2-C1034673F47F}" dt="2023-12-20T13:30:13.034" v="4789"/>
          <ac:spMkLst>
            <pc:docMk/>
            <pc:sldMk cId="1153576615" sldId="2147375801"/>
            <ac:spMk id="277" creationId="{B8EDED8A-E8BE-9A6E-9D53-C15B52DA32B9}"/>
          </ac:spMkLst>
        </pc:spChg>
        <pc:spChg chg="mod ord">
          <ac:chgData name="Leticia Silva" userId="ae98470f-b13e-4231-82f5-fda0897d4c9b" providerId="ADAL" clId="{7A89A945-E419-4319-80D2-C1034673F47F}" dt="2023-12-20T13:30:13.035" v="4791"/>
          <ac:spMkLst>
            <pc:docMk/>
            <pc:sldMk cId="1153576615" sldId="2147375801"/>
            <ac:spMk id="278" creationId="{0FB176DC-12E3-0CD3-B111-E8B4A711414D}"/>
          </ac:spMkLst>
        </pc:spChg>
        <pc:spChg chg="mod ord">
          <ac:chgData name="Leticia Silva" userId="ae98470f-b13e-4231-82f5-fda0897d4c9b" providerId="ADAL" clId="{7A89A945-E419-4319-80D2-C1034673F47F}" dt="2023-12-20T13:30:13.035" v="4793"/>
          <ac:spMkLst>
            <pc:docMk/>
            <pc:sldMk cId="1153576615" sldId="2147375801"/>
            <ac:spMk id="279" creationId="{008AA39E-EB55-E175-FFA1-C0400F7981C6}"/>
          </ac:spMkLst>
        </pc:spChg>
        <pc:graphicFrameChg chg="mod">
          <ac:chgData name="Leticia Silva" userId="ae98470f-b13e-4231-82f5-fda0897d4c9b" providerId="ADAL" clId="{7A89A945-E419-4319-80D2-C1034673F47F}" dt="2023-12-20T17:51:36.640" v="5709"/>
          <ac:graphicFrameMkLst>
            <pc:docMk/>
            <pc:sldMk cId="1153576615" sldId="2147375801"/>
            <ac:graphicFrameMk id="7" creationId="{1F667C36-CC60-A095-E175-B9E5FC1DF5FB}"/>
          </ac:graphicFrameMkLst>
        </pc:graphicFrameChg>
        <pc:cxnChg chg="mod ord">
          <ac:chgData name="Leticia Silva" userId="ae98470f-b13e-4231-82f5-fda0897d4c9b" providerId="ADAL" clId="{7A89A945-E419-4319-80D2-C1034673F47F}" dt="2023-12-20T13:30:12.967" v="4550"/>
          <ac:cxnSpMkLst>
            <pc:docMk/>
            <pc:sldMk cId="1153576615" sldId="2147375801"/>
            <ac:cxnSpMk id="67" creationId="{7E31B1BB-E2D8-E404-5589-ED447F02E97D}"/>
          </ac:cxnSpMkLst>
        </pc:cxnChg>
        <pc:cxnChg chg="mod ord">
          <ac:chgData name="Leticia Silva" userId="ae98470f-b13e-4231-82f5-fda0897d4c9b" providerId="ADAL" clId="{7A89A945-E419-4319-80D2-C1034673F47F}" dt="2023-12-20T13:30:12.968" v="4552"/>
          <ac:cxnSpMkLst>
            <pc:docMk/>
            <pc:sldMk cId="1153576615" sldId="2147375801"/>
            <ac:cxnSpMk id="68" creationId="{F88A5327-C5FC-CF28-9BC9-31B313CC1750}"/>
          </ac:cxnSpMkLst>
        </pc:cxnChg>
        <pc:cxnChg chg="mod ord">
          <ac:chgData name="Leticia Silva" userId="ae98470f-b13e-4231-82f5-fda0897d4c9b" providerId="ADAL" clId="{7A89A945-E419-4319-80D2-C1034673F47F}" dt="2023-12-20T13:30:12.943" v="4454"/>
          <ac:cxnSpMkLst>
            <pc:docMk/>
            <pc:sldMk cId="1153576615" sldId="2147375801"/>
            <ac:cxnSpMk id="69" creationId="{79F01183-C7E4-003E-DC59-CC84FE79C85D}"/>
          </ac:cxnSpMkLst>
        </pc:cxnChg>
        <pc:cxnChg chg="mod ord">
          <ac:chgData name="Leticia Silva" userId="ae98470f-b13e-4231-82f5-fda0897d4c9b" providerId="ADAL" clId="{7A89A945-E419-4319-80D2-C1034673F47F}" dt="2023-12-20T13:30:12.943" v="4456"/>
          <ac:cxnSpMkLst>
            <pc:docMk/>
            <pc:sldMk cId="1153576615" sldId="2147375801"/>
            <ac:cxnSpMk id="70" creationId="{1ECF43D5-18A5-90D5-250A-C4B609519F79}"/>
          </ac:cxnSpMkLst>
        </pc:cxnChg>
        <pc:cxnChg chg="mod ord">
          <ac:chgData name="Leticia Silva" userId="ae98470f-b13e-4231-82f5-fda0897d4c9b" providerId="ADAL" clId="{7A89A945-E419-4319-80D2-C1034673F47F}" dt="2023-12-20T13:30:12.955" v="4504"/>
          <ac:cxnSpMkLst>
            <pc:docMk/>
            <pc:sldMk cId="1153576615" sldId="2147375801"/>
            <ac:cxnSpMk id="71" creationId="{BE3C4C67-D911-AA0C-FA9E-E3BB3CC1A9AB}"/>
          </ac:cxnSpMkLst>
        </pc:cxnChg>
        <pc:cxnChg chg="mod ord">
          <ac:chgData name="Leticia Silva" userId="ae98470f-b13e-4231-82f5-fda0897d4c9b" providerId="ADAL" clId="{7A89A945-E419-4319-80D2-C1034673F47F}" dt="2023-12-20T13:30:12.945" v="4460"/>
          <ac:cxnSpMkLst>
            <pc:docMk/>
            <pc:sldMk cId="1153576615" sldId="2147375801"/>
            <ac:cxnSpMk id="72" creationId="{94A44C03-EF3B-7BD2-3FF3-AA909DEE72CD}"/>
          </ac:cxnSpMkLst>
        </pc:cxnChg>
        <pc:cxnChg chg="mod ord">
          <ac:chgData name="Leticia Silva" userId="ae98470f-b13e-4231-82f5-fda0897d4c9b" providerId="ADAL" clId="{7A89A945-E419-4319-80D2-C1034673F47F}" dt="2023-12-20T13:30:12.945" v="4462"/>
          <ac:cxnSpMkLst>
            <pc:docMk/>
            <pc:sldMk cId="1153576615" sldId="2147375801"/>
            <ac:cxnSpMk id="73" creationId="{F6D29B6B-E5F9-C93C-C11F-02B8CC1334F8}"/>
          </ac:cxnSpMkLst>
        </pc:cxnChg>
        <pc:cxnChg chg="mod ord">
          <ac:chgData name="Leticia Silva" userId="ae98470f-b13e-4231-82f5-fda0897d4c9b" providerId="ADAL" clId="{7A89A945-E419-4319-80D2-C1034673F47F}" dt="2023-12-20T13:30:12.946" v="4464"/>
          <ac:cxnSpMkLst>
            <pc:docMk/>
            <pc:sldMk cId="1153576615" sldId="2147375801"/>
            <ac:cxnSpMk id="74" creationId="{5BA2A22A-CC0B-31E1-981B-89EE753C6331}"/>
          </ac:cxnSpMkLst>
        </pc:cxnChg>
        <pc:cxnChg chg="mod ord">
          <ac:chgData name="Leticia Silva" userId="ae98470f-b13e-4231-82f5-fda0897d4c9b" providerId="ADAL" clId="{7A89A945-E419-4319-80D2-C1034673F47F}" dt="2023-12-20T13:30:12.946" v="4466"/>
          <ac:cxnSpMkLst>
            <pc:docMk/>
            <pc:sldMk cId="1153576615" sldId="2147375801"/>
            <ac:cxnSpMk id="75" creationId="{02DAC459-AF78-0DE1-B336-E9C82A128F5C}"/>
          </ac:cxnSpMkLst>
        </pc:cxnChg>
        <pc:cxnChg chg="mod ord">
          <ac:chgData name="Leticia Silva" userId="ae98470f-b13e-4231-82f5-fda0897d4c9b" providerId="ADAL" clId="{7A89A945-E419-4319-80D2-C1034673F47F}" dt="2023-12-20T13:30:12.947" v="4468"/>
          <ac:cxnSpMkLst>
            <pc:docMk/>
            <pc:sldMk cId="1153576615" sldId="2147375801"/>
            <ac:cxnSpMk id="76" creationId="{E55DA398-C3BA-8A09-BAD8-F13CABB0B5F0}"/>
          </ac:cxnSpMkLst>
        </pc:cxnChg>
        <pc:cxnChg chg="mod ord">
          <ac:chgData name="Leticia Silva" userId="ae98470f-b13e-4231-82f5-fda0897d4c9b" providerId="ADAL" clId="{7A89A945-E419-4319-80D2-C1034673F47F}" dt="2023-12-20T13:30:12.947" v="4470"/>
          <ac:cxnSpMkLst>
            <pc:docMk/>
            <pc:sldMk cId="1153576615" sldId="2147375801"/>
            <ac:cxnSpMk id="77" creationId="{AB864E01-7B51-54FF-A21D-A6E81D543675}"/>
          </ac:cxnSpMkLst>
        </pc:cxnChg>
        <pc:cxnChg chg="mod ord">
          <ac:chgData name="Leticia Silva" userId="ae98470f-b13e-4231-82f5-fda0897d4c9b" providerId="ADAL" clId="{7A89A945-E419-4319-80D2-C1034673F47F}" dt="2023-12-20T13:30:12.947" v="4472"/>
          <ac:cxnSpMkLst>
            <pc:docMk/>
            <pc:sldMk cId="1153576615" sldId="2147375801"/>
            <ac:cxnSpMk id="78" creationId="{05999A4D-C52E-9D87-665C-28FAE1F2C8BA}"/>
          </ac:cxnSpMkLst>
        </pc:cxnChg>
        <pc:cxnChg chg="mod ord">
          <ac:chgData name="Leticia Silva" userId="ae98470f-b13e-4231-82f5-fda0897d4c9b" providerId="ADAL" clId="{7A89A945-E419-4319-80D2-C1034673F47F}" dt="2023-12-20T13:30:12.948" v="4474"/>
          <ac:cxnSpMkLst>
            <pc:docMk/>
            <pc:sldMk cId="1153576615" sldId="2147375801"/>
            <ac:cxnSpMk id="79" creationId="{9E0E3629-E466-733D-F34D-24CF37975663}"/>
          </ac:cxnSpMkLst>
        </pc:cxnChg>
        <pc:cxnChg chg="mod ord">
          <ac:chgData name="Leticia Silva" userId="ae98470f-b13e-4231-82f5-fda0897d4c9b" providerId="ADAL" clId="{7A89A945-E419-4319-80D2-C1034673F47F}" dt="2023-12-20T13:30:12.949" v="4476"/>
          <ac:cxnSpMkLst>
            <pc:docMk/>
            <pc:sldMk cId="1153576615" sldId="2147375801"/>
            <ac:cxnSpMk id="80" creationId="{F453A6E3-4BA1-6BD8-0E98-2A00FEC0B259}"/>
          </ac:cxnSpMkLst>
        </pc:cxnChg>
        <pc:cxnChg chg="mod ord">
          <ac:chgData name="Leticia Silva" userId="ae98470f-b13e-4231-82f5-fda0897d4c9b" providerId="ADAL" clId="{7A89A945-E419-4319-80D2-C1034673F47F}" dt="2023-12-20T13:30:12.949" v="4478"/>
          <ac:cxnSpMkLst>
            <pc:docMk/>
            <pc:sldMk cId="1153576615" sldId="2147375801"/>
            <ac:cxnSpMk id="81" creationId="{6646BD1E-AD93-D861-EEBC-110155973EC3}"/>
          </ac:cxnSpMkLst>
        </pc:cxnChg>
        <pc:cxnChg chg="mod ord">
          <ac:chgData name="Leticia Silva" userId="ae98470f-b13e-4231-82f5-fda0897d4c9b" providerId="ADAL" clId="{7A89A945-E419-4319-80D2-C1034673F47F}" dt="2023-12-20T13:30:12.950" v="4480"/>
          <ac:cxnSpMkLst>
            <pc:docMk/>
            <pc:sldMk cId="1153576615" sldId="2147375801"/>
            <ac:cxnSpMk id="82" creationId="{BEA10834-2C0D-50A9-98C4-17AA3071042F}"/>
          </ac:cxnSpMkLst>
        </pc:cxnChg>
        <pc:cxnChg chg="mod ord">
          <ac:chgData name="Leticia Silva" userId="ae98470f-b13e-4231-82f5-fda0897d4c9b" providerId="ADAL" clId="{7A89A945-E419-4319-80D2-C1034673F47F}" dt="2023-12-20T13:30:12.950" v="4482"/>
          <ac:cxnSpMkLst>
            <pc:docMk/>
            <pc:sldMk cId="1153576615" sldId="2147375801"/>
            <ac:cxnSpMk id="83" creationId="{ABC32D25-BA53-66BE-7282-A628F53F4F57}"/>
          </ac:cxnSpMkLst>
        </pc:cxnChg>
        <pc:cxnChg chg="mod ord">
          <ac:chgData name="Leticia Silva" userId="ae98470f-b13e-4231-82f5-fda0897d4c9b" providerId="ADAL" clId="{7A89A945-E419-4319-80D2-C1034673F47F}" dt="2023-12-20T13:30:12.950" v="4484"/>
          <ac:cxnSpMkLst>
            <pc:docMk/>
            <pc:sldMk cId="1153576615" sldId="2147375801"/>
            <ac:cxnSpMk id="84" creationId="{B3B25393-5103-0412-B385-F1B18E74BE6C}"/>
          </ac:cxnSpMkLst>
        </pc:cxnChg>
        <pc:cxnChg chg="mod ord">
          <ac:chgData name="Leticia Silva" userId="ae98470f-b13e-4231-82f5-fda0897d4c9b" providerId="ADAL" clId="{7A89A945-E419-4319-80D2-C1034673F47F}" dt="2023-12-20T13:30:12.951" v="4486"/>
          <ac:cxnSpMkLst>
            <pc:docMk/>
            <pc:sldMk cId="1153576615" sldId="2147375801"/>
            <ac:cxnSpMk id="85" creationId="{FDAD6120-9E3D-DAA7-B78A-CEB0429914F5}"/>
          </ac:cxnSpMkLst>
        </pc:cxnChg>
        <pc:cxnChg chg="mod ord">
          <ac:chgData name="Leticia Silva" userId="ae98470f-b13e-4231-82f5-fda0897d4c9b" providerId="ADAL" clId="{7A89A945-E419-4319-80D2-C1034673F47F}" dt="2023-12-20T13:30:12.951" v="4488"/>
          <ac:cxnSpMkLst>
            <pc:docMk/>
            <pc:sldMk cId="1153576615" sldId="2147375801"/>
            <ac:cxnSpMk id="86" creationId="{DDFBA43D-FE0B-B1FF-2168-FF0488B26388}"/>
          </ac:cxnSpMkLst>
        </pc:cxnChg>
        <pc:cxnChg chg="mod ord">
          <ac:chgData name="Leticia Silva" userId="ae98470f-b13e-4231-82f5-fda0897d4c9b" providerId="ADAL" clId="{7A89A945-E419-4319-80D2-C1034673F47F}" dt="2023-12-20T13:30:12.951" v="4490"/>
          <ac:cxnSpMkLst>
            <pc:docMk/>
            <pc:sldMk cId="1153576615" sldId="2147375801"/>
            <ac:cxnSpMk id="87" creationId="{1880178E-FA91-5BB8-D664-90C84C893DE3}"/>
          </ac:cxnSpMkLst>
        </pc:cxnChg>
        <pc:cxnChg chg="mod ord">
          <ac:chgData name="Leticia Silva" userId="ae98470f-b13e-4231-82f5-fda0897d4c9b" providerId="ADAL" clId="{7A89A945-E419-4319-80D2-C1034673F47F}" dt="2023-12-20T13:30:12.952" v="4492"/>
          <ac:cxnSpMkLst>
            <pc:docMk/>
            <pc:sldMk cId="1153576615" sldId="2147375801"/>
            <ac:cxnSpMk id="88" creationId="{06A74EA9-0B09-2C1F-8CF6-E921D09E80F0}"/>
          </ac:cxnSpMkLst>
        </pc:cxnChg>
        <pc:cxnChg chg="mod ord">
          <ac:chgData name="Leticia Silva" userId="ae98470f-b13e-4231-82f5-fda0897d4c9b" providerId="ADAL" clId="{7A89A945-E419-4319-80D2-C1034673F47F}" dt="2023-12-20T13:30:12.953" v="4494"/>
          <ac:cxnSpMkLst>
            <pc:docMk/>
            <pc:sldMk cId="1153576615" sldId="2147375801"/>
            <ac:cxnSpMk id="89" creationId="{4B5C9966-EA86-8171-8150-31D37AD504BB}"/>
          </ac:cxnSpMkLst>
        </pc:cxnChg>
        <pc:cxnChg chg="mod ord">
          <ac:chgData name="Leticia Silva" userId="ae98470f-b13e-4231-82f5-fda0897d4c9b" providerId="ADAL" clId="{7A89A945-E419-4319-80D2-C1034673F47F}" dt="2023-12-20T13:30:12.953" v="4496"/>
          <ac:cxnSpMkLst>
            <pc:docMk/>
            <pc:sldMk cId="1153576615" sldId="2147375801"/>
            <ac:cxnSpMk id="90" creationId="{70BF7317-C847-655E-00D0-9328726A1E90}"/>
          </ac:cxnSpMkLst>
        </pc:cxnChg>
        <pc:cxnChg chg="mod ord">
          <ac:chgData name="Leticia Silva" userId="ae98470f-b13e-4231-82f5-fda0897d4c9b" providerId="ADAL" clId="{7A89A945-E419-4319-80D2-C1034673F47F}" dt="2023-12-20T13:30:12.954" v="4498"/>
          <ac:cxnSpMkLst>
            <pc:docMk/>
            <pc:sldMk cId="1153576615" sldId="2147375801"/>
            <ac:cxnSpMk id="91" creationId="{9FCE26A6-1C49-892D-0419-19687A7DA7FE}"/>
          </ac:cxnSpMkLst>
        </pc:cxnChg>
        <pc:cxnChg chg="mod ord">
          <ac:chgData name="Leticia Silva" userId="ae98470f-b13e-4231-82f5-fda0897d4c9b" providerId="ADAL" clId="{7A89A945-E419-4319-80D2-C1034673F47F}" dt="2023-12-20T13:30:12.954" v="4500"/>
          <ac:cxnSpMkLst>
            <pc:docMk/>
            <pc:sldMk cId="1153576615" sldId="2147375801"/>
            <ac:cxnSpMk id="92" creationId="{5D510BA9-E8F8-DE03-E8C6-3E83BBEC9345}"/>
          </ac:cxnSpMkLst>
        </pc:cxnChg>
        <pc:cxnChg chg="mod ord">
          <ac:chgData name="Leticia Silva" userId="ae98470f-b13e-4231-82f5-fda0897d4c9b" providerId="ADAL" clId="{7A89A945-E419-4319-80D2-C1034673F47F}" dt="2023-12-20T13:30:12.955" v="4502"/>
          <ac:cxnSpMkLst>
            <pc:docMk/>
            <pc:sldMk cId="1153576615" sldId="2147375801"/>
            <ac:cxnSpMk id="93" creationId="{10E94096-5749-7264-FD91-D2A13CC7D9C3}"/>
          </ac:cxnSpMkLst>
        </pc:cxnChg>
        <pc:cxnChg chg="mod ord">
          <ac:chgData name="Leticia Silva" userId="ae98470f-b13e-4231-82f5-fda0897d4c9b" providerId="ADAL" clId="{7A89A945-E419-4319-80D2-C1034673F47F}" dt="2023-12-20T13:30:12.956" v="4506"/>
          <ac:cxnSpMkLst>
            <pc:docMk/>
            <pc:sldMk cId="1153576615" sldId="2147375801"/>
            <ac:cxnSpMk id="94" creationId="{B6E626A0-BBA0-BF18-8FE6-CC98194C86CB}"/>
          </ac:cxnSpMkLst>
        </pc:cxnChg>
        <pc:cxnChg chg="mod ord">
          <ac:chgData name="Leticia Silva" userId="ae98470f-b13e-4231-82f5-fda0897d4c9b" providerId="ADAL" clId="{7A89A945-E419-4319-80D2-C1034673F47F}" dt="2023-12-20T13:30:12.956" v="4508"/>
          <ac:cxnSpMkLst>
            <pc:docMk/>
            <pc:sldMk cId="1153576615" sldId="2147375801"/>
            <ac:cxnSpMk id="95" creationId="{3E454069-5554-6854-75F9-D94BBC259626}"/>
          </ac:cxnSpMkLst>
        </pc:cxnChg>
        <pc:cxnChg chg="mod ord">
          <ac:chgData name="Leticia Silva" userId="ae98470f-b13e-4231-82f5-fda0897d4c9b" providerId="ADAL" clId="{7A89A945-E419-4319-80D2-C1034673F47F}" dt="2023-12-20T13:30:12.956" v="4510"/>
          <ac:cxnSpMkLst>
            <pc:docMk/>
            <pc:sldMk cId="1153576615" sldId="2147375801"/>
            <ac:cxnSpMk id="96" creationId="{99D23056-B080-88C4-34E9-258E028DA0AA}"/>
          </ac:cxnSpMkLst>
        </pc:cxnChg>
        <pc:cxnChg chg="mod ord">
          <ac:chgData name="Leticia Silva" userId="ae98470f-b13e-4231-82f5-fda0897d4c9b" providerId="ADAL" clId="{7A89A945-E419-4319-80D2-C1034673F47F}" dt="2023-12-20T13:30:12.957" v="4512"/>
          <ac:cxnSpMkLst>
            <pc:docMk/>
            <pc:sldMk cId="1153576615" sldId="2147375801"/>
            <ac:cxnSpMk id="97" creationId="{7407D70C-FA4C-0985-EBC6-42EABA1AC51C}"/>
          </ac:cxnSpMkLst>
        </pc:cxnChg>
        <pc:cxnChg chg="mod ord">
          <ac:chgData name="Leticia Silva" userId="ae98470f-b13e-4231-82f5-fda0897d4c9b" providerId="ADAL" clId="{7A89A945-E419-4319-80D2-C1034673F47F}" dt="2023-12-20T13:30:12.957" v="4514"/>
          <ac:cxnSpMkLst>
            <pc:docMk/>
            <pc:sldMk cId="1153576615" sldId="2147375801"/>
            <ac:cxnSpMk id="98" creationId="{0C94E254-AEAE-8CFE-5D8D-C3FB92807DE2}"/>
          </ac:cxnSpMkLst>
        </pc:cxnChg>
        <pc:cxnChg chg="mod ord">
          <ac:chgData name="Leticia Silva" userId="ae98470f-b13e-4231-82f5-fda0897d4c9b" providerId="ADAL" clId="{7A89A945-E419-4319-80D2-C1034673F47F}" dt="2023-12-20T13:30:12.960" v="4520"/>
          <ac:cxnSpMkLst>
            <pc:docMk/>
            <pc:sldMk cId="1153576615" sldId="2147375801"/>
            <ac:cxnSpMk id="99" creationId="{1DD31E87-AFE0-442C-BCF1-DFFAFEDB6E83}"/>
          </ac:cxnSpMkLst>
        </pc:cxnChg>
        <pc:cxnChg chg="mod ord">
          <ac:chgData name="Leticia Silva" userId="ae98470f-b13e-4231-82f5-fda0897d4c9b" providerId="ADAL" clId="{7A89A945-E419-4319-80D2-C1034673F47F}" dt="2023-12-20T13:30:12.958" v="4518"/>
          <ac:cxnSpMkLst>
            <pc:docMk/>
            <pc:sldMk cId="1153576615" sldId="2147375801"/>
            <ac:cxnSpMk id="100" creationId="{4C32E6B1-1370-A9DC-B1EF-B7BE23A2D038}"/>
          </ac:cxnSpMkLst>
        </pc:cxnChg>
        <pc:cxnChg chg="mod ord">
          <ac:chgData name="Leticia Silva" userId="ae98470f-b13e-4231-82f5-fda0897d4c9b" providerId="ADAL" clId="{7A89A945-E419-4319-80D2-C1034673F47F}" dt="2023-12-20T13:30:12.960" v="4522"/>
          <ac:cxnSpMkLst>
            <pc:docMk/>
            <pc:sldMk cId="1153576615" sldId="2147375801"/>
            <ac:cxnSpMk id="101" creationId="{B3451781-EB09-2656-7D06-EAEB1617E370}"/>
          </ac:cxnSpMkLst>
        </pc:cxnChg>
        <pc:cxnChg chg="del">
          <ac:chgData name="Leticia Silva" userId="ae98470f-b13e-4231-82f5-fda0897d4c9b" providerId="ADAL" clId="{7A89A945-E419-4319-80D2-C1034673F47F}" dt="2023-12-20T13:28:47.777" v="1181"/>
          <ac:cxnSpMkLst>
            <pc:docMk/>
            <pc:sldMk cId="1153576615" sldId="2147375801"/>
            <ac:cxnSpMk id="102" creationId="{4452EE69-5B40-C3AD-49EF-56AA950F86D8}"/>
          </ac:cxnSpMkLst>
        </pc:cxnChg>
        <pc:cxnChg chg="mod ord">
          <ac:chgData name="Leticia Silva" userId="ae98470f-b13e-4231-82f5-fda0897d4c9b" providerId="ADAL" clId="{7A89A945-E419-4319-80D2-C1034673F47F}" dt="2023-12-20T13:30:12.960" v="4524"/>
          <ac:cxnSpMkLst>
            <pc:docMk/>
            <pc:sldMk cId="1153576615" sldId="2147375801"/>
            <ac:cxnSpMk id="103" creationId="{9A6F1B0B-08AE-4BA7-BFFA-3BE96AD9F917}"/>
          </ac:cxnSpMkLst>
        </pc:cxnChg>
        <pc:cxnChg chg="mod ord">
          <ac:chgData name="Leticia Silva" userId="ae98470f-b13e-4231-82f5-fda0897d4c9b" providerId="ADAL" clId="{7A89A945-E419-4319-80D2-C1034673F47F}" dt="2023-12-20T13:30:12.961" v="4526"/>
          <ac:cxnSpMkLst>
            <pc:docMk/>
            <pc:sldMk cId="1153576615" sldId="2147375801"/>
            <ac:cxnSpMk id="104" creationId="{DBFDB064-DB73-F28E-0EC2-CEDE30DD5663}"/>
          </ac:cxnSpMkLst>
        </pc:cxnChg>
        <pc:cxnChg chg="mod ord">
          <ac:chgData name="Leticia Silva" userId="ae98470f-b13e-4231-82f5-fda0897d4c9b" providerId="ADAL" clId="{7A89A945-E419-4319-80D2-C1034673F47F}" dt="2023-12-20T13:30:12.961" v="4528"/>
          <ac:cxnSpMkLst>
            <pc:docMk/>
            <pc:sldMk cId="1153576615" sldId="2147375801"/>
            <ac:cxnSpMk id="105" creationId="{408E5576-4F43-C9B1-93E8-2FAE3E150C74}"/>
          </ac:cxnSpMkLst>
        </pc:cxnChg>
        <pc:cxnChg chg="mod ord">
          <ac:chgData name="Leticia Silva" userId="ae98470f-b13e-4231-82f5-fda0897d4c9b" providerId="ADAL" clId="{7A89A945-E419-4319-80D2-C1034673F47F}" dt="2023-12-20T13:30:12.961" v="4530"/>
          <ac:cxnSpMkLst>
            <pc:docMk/>
            <pc:sldMk cId="1153576615" sldId="2147375801"/>
            <ac:cxnSpMk id="106" creationId="{3CFBDC8A-1169-9FE1-EC5F-321330A14AB7}"/>
          </ac:cxnSpMkLst>
        </pc:cxnChg>
        <pc:cxnChg chg="mod ord">
          <ac:chgData name="Leticia Silva" userId="ae98470f-b13e-4231-82f5-fda0897d4c9b" providerId="ADAL" clId="{7A89A945-E419-4319-80D2-C1034673F47F}" dt="2023-12-20T13:30:12.963" v="4532"/>
          <ac:cxnSpMkLst>
            <pc:docMk/>
            <pc:sldMk cId="1153576615" sldId="2147375801"/>
            <ac:cxnSpMk id="107" creationId="{83D07327-F57F-2CDF-5671-A0C096EBD4AE}"/>
          </ac:cxnSpMkLst>
        </pc:cxnChg>
        <pc:cxnChg chg="del">
          <ac:chgData name="Leticia Silva" userId="ae98470f-b13e-4231-82f5-fda0897d4c9b" providerId="ADAL" clId="{7A89A945-E419-4319-80D2-C1034673F47F}" dt="2023-12-20T13:28:48.026" v="1623"/>
          <ac:cxnSpMkLst>
            <pc:docMk/>
            <pc:sldMk cId="1153576615" sldId="2147375801"/>
            <ac:cxnSpMk id="108" creationId="{6DEB9DB8-6016-79E3-3C17-250EDA4EA6DF}"/>
          </ac:cxnSpMkLst>
        </pc:cxnChg>
        <pc:cxnChg chg="mod ord">
          <ac:chgData name="Leticia Silva" userId="ae98470f-b13e-4231-82f5-fda0897d4c9b" providerId="ADAL" clId="{7A89A945-E419-4319-80D2-C1034673F47F}" dt="2023-12-20T13:30:12.963" v="4534"/>
          <ac:cxnSpMkLst>
            <pc:docMk/>
            <pc:sldMk cId="1153576615" sldId="2147375801"/>
            <ac:cxnSpMk id="109" creationId="{5A79ED4B-640E-7B22-18DA-5872C8A66FDA}"/>
          </ac:cxnSpMkLst>
        </pc:cxnChg>
        <pc:cxnChg chg="mod ord">
          <ac:chgData name="Leticia Silva" userId="ae98470f-b13e-4231-82f5-fda0897d4c9b" providerId="ADAL" clId="{7A89A945-E419-4319-80D2-C1034673F47F}" dt="2023-12-20T13:30:12.964" v="4536"/>
          <ac:cxnSpMkLst>
            <pc:docMk/>
            <pc:sldMk cId="1153576615" sldId="2147375801"/>
            <ac:cxnSpMk id="110" creationId="{8576568C-20AB-632B-78D1-EDB86AC8569F}"/>
          </ac:cxnSpMkLst>
        </pc:cxnChg>
        <pc:cxnChg chg="mod ord">
          <ac:chgData name="Leticia Silva" userId="ae98470f-b13e-4231-82f5-fda0897d4c9b" providerId="ADAL" clId="{7A89A945-E419-4319-80D2-C1034673F47F}" dt="2023-12-20T13:30:12.964" v="4538"/>
          <ac:cxnSpMkLst>
            <pc:docMk/>
            <pc:sldMk cId="1153576615" sldId="2147375801"/>
            <ac:cxnSpMk id="111" creationId="{6F6AC891-D6B5-CBD0-CBB9-FDBC6FE6DD82}"/>
          </ac:cxnSpMkLst>
        </pc:cxnChg>
        <pc:cxnChg chg="mod ord">
          <ac:chgData name="Leticia Silva" userId="ae98470f-b13e-4231-82f5-fda0897d4c9b" providerId="ADAL" clId="{7A89A945-E419-4319-80D2-C1034673F47F}" dt="2023-12-20T13:30:12.965" v="4540"/>
          <ac:cxnSpMkLst>
            <pc:docMk/>
            <pc:sldMk cId="1153576615" sldId="2147375801"/>
            <ac:cxnSpMk id="112" creationId="{A2C1A27F-075F-ECB5-2E05-D90DF4553ED6}"/>
          </ac:cxnSpMkLst>
        </pc:cxnChg>
        <pc:cxnChg chg="mod ord">
          <ac:chgData name="Leticia Silva" userId="ae98470f-b13e-4231-82f5-fda0897d4c9b" providerId="ADAL" clId="{7A89A945-E419-4319-80D2-C1034673F47F}" dt="2023-12-20T13:30:12.965" v="4542"/>
          <ac:cxnSpMkLst>
            <pc:docMk/>
            <pc:sldMk cId="1153576615" sldId="2147375801"/>
            <ac:cxnSpMk id="113" creationId="{2AB553E3-5E3B-3604-2E7A-46C69ECB0EDC}"/>
          </ac:cxnSpMkLst>
        </pc:cxnChg>
        <pc:cxnChg chg="mod ord">
          <ac:chgData name="Leticia Silva" userId="ae98470f-b13e-4231-82f5-fda0897d4c9b" providerId="ADAL" clId="{7A89A945-E419-4319-80D2-C1034673F47F}" dt="2023-12-20T13:30:12.971" v="4562"/>
          <ac:cxnSpMkLst>
            <pc:docMk/>
            <pc:sldMk cId="1153576615" sldId="2147375801"/>
            <ac:cxnSpMk id="116" creationId="{6E3763D0-74BA-656B-5E49-7A3036BD8C98}"/>
          </ac:cxnSpMkLst>
        </pc:cxnChg>
        <pc:cxnChg chg="mod ord">
          <ac:chgData name="Leticia Silva" userId="ae98470f-b13e-4231-82f5-fda0897d4c9b" providerId="ADAL" clId="{7A89A945-E419-4319-80D2-C1034673F47F}" dt="2023-12-20T13:30:12.971" v="4564"/>
          <ac:cxnSpMkLst>
            <pc:docMk/>
            <pc:sldMk cId="1153576615" sldId="2147375801"/>
            <ac:cxnSpMk id="117" creationId="{92856AB9-B231-55FF-F630-A98C5B841611}"/>
          </ac:cxnSpMkLst>
        </pc:cxnChg>
        <pc:cxnChg chg="mod ord">
          <ac:chgData name="Leticia Silva" userId="ae98470f-b13e-4231-82f5-fda0897d4c9b" providerId="ADAL" clId="{7A89A945-E419-4319-80D2-C1034673F47F}" dt="2023-12-20T13:30:12.970" v="4560"/>
          <ac:cxnSpMkLst>
            <pc:docMk/>
            <pc:sldMk cId="1153576615" sldId="2147375801"/>
            <ac:cxnSpMk id="118" creationId="{E3DF2317-F4E7-61B0-E660-6F094259F985}"/>
          </ac:cxnSpMkLst>
        </pc:cxnChg>
        <pc:cxnChg chg="mod ord">
          <ac:chgData name="Leticia Silva" userId="ae98470f-b13e-4231-82f5-fda0897d4c9b" providerId="ADAL" clId="{7A89A945-E419-4319-80D2-C1034673F47F}" dt="2023-12-20T13:30:12.969" v="4556"/>
          <ac:cxnSpMkLst>
            <pc:docMk/>
            <pc:sldMk cId="1153576615" sldId="2147375801"/>
            <ac:cxnSpMk id="119" creationId="{0BA44186-09B3-7464-2FAE-3CA4441FD790}"/>
          </ac:cxnSpMkLst>
        </pc:cxnChg>
        <pc:cxnChg chg="mod ord">
          <ac:chgData name="Leticia Silva" userId="ae98470f-b13e-4231-82f5-fda0897d4c9b" providerId="ADAL" clId="{7A89A945-E419-4319-80D2-C1034673F47F}" dt="2023-12-20T13:30:12.969" v="4558"/>
          <ac:cxnSpMkLst>
            <pc:docMk/>
            <pc:sldMk cId="1153576615" sldId="2147375801"/>
            <ac:cxnSpMk id="120" creationId="{545B1D29-80B3-E9E2-CAEF-5983C9AB6036}"/>
          </ac:cxnSpMkLst>
        </pc:cxnChg>
        <pc:cxnChg chg="mod ord">
          <ac:chgData name="Leticia Silva" userId="ae98470f-b13e-4231-82f5-fda0897d4c9b" providerId="ADAL" clId="{7A89A945-E419-4319-80D2-C1034673F47F}" dt="2023-12-20T13:30:12.968" v="4554"/>
          <ac:cxnSpMkLst>
            <pc:docMk/>
            <pc:sldMk cId="1153576615" sldId="2147375801"/>
            <ac:cxnSpMk id="121" creationId="{034D6545-431E-F7A0-6753-0893EC73FD25}"/>
          </ac:cxnSpMkLst>
        </pc:cxnChg>
        <pc:cxnChg chg="mod ord">
          <ac:chgData name="Leticia Silva" userId="ae98470f-b13e-4231-82f5-fda0897d4c9b" providerId="ADAL" clId="{7A89A945-E419-4319-80D2-C1034673F47F}" dt="2023-12-20T13:30:12.972" v="4566"/>
          <ac:cxnSpMkLst>
            <pc:docMk/>
            <pc:sldMk cId="1153576615" sldId="2147375801"/>
            <ac:cxnSpMk id="122" creationId="{55388708-845D-3789-7D9D-E1A489D321E4}"/>
          </ac:cxnSpMkLst>
        </pc:cxnChg>
        <pc:cxnChg chg="mod ord">
          <ac:chgData name="Leticia Silva" userId="ae98470f-b13e-4231-82f5-fda0897d4c9b" providerId="ADAL" clId="{7A89A945-E419-4319-80D2-C1034673F47F}" dt="2023-12-20T13:30:12.973" v="4572"/>
          <ac:cxnSpMkLst>
            <pc:docMk/>
            <pc:sldMk cId="1153576615" sldId="2147375801"/>
            <ac:cxnSpMk id="123" creationId="{1BAD0CC1-7AE4-83B4-1C45-CB95B06C4062}"/>
          </ac:cxnSpMkLst>
        </pc:cxnChg>
        <pc:cxnChg chg="mod ord">
          <ac:chgData name="Leticia Silva" userId="ae98470f-b13e-4231-82f5-fda0897d4c9b" providerId="ADAL" clId="{7A89A945-E419-4319-80D2-C1034673F47F}" dt="2023-12-20T13:30:12.975" v="4576"/>
          <ac:cxnSpMkLst>
            <pc:docMk/>
            <pc:sldMk cId="1153576615" sldId="2147375801"/>
            <ac:cxnSpMk id="124" creationId="{3420362D-7395-1142-7A6B-F32578DCB1DC}"/>
          </ac:cxnSpMkLst>
        </pc:cxnChg>
        <pc:cxnChg chg="mod ord">
          <ac:chgData name="Leticia Silva" userId="ae98470f-b13e-4231-82f5-fda0897d4c9b" providerId="ADAL" clId="{7A89A945-E419-4319-80D2-C1034673F47F}" dt="2023-12-20T13:30:12.975" v="4578"/>
          <ac:cxnSpMkLst>
            <pc:docMk/>
            <pc:sldMk cId="1153576615" sldId="2147375801"/>
            <ac:cxnSpMk id="125" creationId="{7BCA3C77-9FBB-CAFB-6685-9B9C04E66FE1}"/>
          </ac:cxnSpMkLst>
        </pc:cxnChg>
        <pc:cxnChg chg="mod ord">
          <ac:chgData name="Leticia Silva" userId="ae98470f-b13e-4231-82f5-fda0897d4c9b" providerId="ADAL" clId="{7A89A945-E419-4319-80D2-C1034673F47F}" dt="2023-12-20T13:30:12.973" v="4568"/>
          <ac:cxnSpMkLst>
            <pc:docMk/>
            <pc:sldMk cId="1153576615" sldId="2147375801"/>
            <ac:cxnSpMk id="126" creationId="{4140853A-DFBB-A481-04AF-29302089EE20}"/>
          </ac:cxnSpMkLst>
        </pc:cxnChg>
        <pc:cxnChg chg="mod ord">
          <ac:chgData name="Leticia Silva" userId="ae98470f-b13e-4231-82f5-fda0897d4c9b" providerId="ADAL" clId="{7A89A945-E419-4319-80D2-C1034673F47F}" dt="2023-12-20T13:30:12.974" v="4574"/>
          <ac:cxnSpMkLst>
            <pc:docMk/>
            <pc:sldMk cId="1153576615" sldId="2147375801"/>
            <ac:cxnSpMk id="127" creationId="{69397F95-5799-D447-20A8-C8400C7B4238}"/>
          </ac:cxnSpMkLst>
        </pc:cxnChg>
        <pc:cxnChg chg="mod ord">
          <ac:chgData name="Leticia Silva" userId="ae98470f-b13e-4231-82f5-fda0897d4c9b" providerId="ADAL" clId="{7A89A945-E419-4319-80D2-C1034673F47F}" dt="2023-12-20T13:30:12.973" v="4570"/>
          <ac:cxnSpMkLst>
            <pc:docMk/>
            <pc:sldMk cId="1153576615" sldId="2147375801"/>
            <ac:cxnSpMk id="128" creationId="{389D7311-1DDF-BCC9-692E-4C84A78FE766}"/>
          </ac:cxnSpMkLst>
        </pc:cxnChg>
        <pc:cxnChg chg="mod ord">
          <ac:chgData name="Leticia Silva" userId="ae98470f-b13e-4231-82f5-fda0897d4c9b" providerId="ADAL" clId="{7A89A945-E419-4319-80D2-C1034673F47F}" dt="2023-12-20T13:30:12.976" v="4580"/>
          <ac:cxnSpMkLst>
            <pc:docMk/>
            <pc:sldMk cId="1153576615" sldId="2147375801"/>
            <ac:cxnSpMk id="129" creationId="{81418F27-2F5D-1252-DEC3-99F40AEA0F93}"/>
          </ac:cxnSpMkLst>
        </pc:cxnChg>
        <pc:cxnChg chg="mod ord">
          <ac:chgData name="Leticia Silva" userId="ae98470f-b13e-4231-82f5-fda0897d4c9b" providerId="ADAL" clId="{7A89A945-E419-4319-80D2-C1034673F47F}" dt="2023-12-20T17:51:33.415" v="5579" actId="16931"/>
          <ac:cxnSpMkLst>
            <pc:docMk/>
            <pc:sldMk cId="1153576615" sldId="2147375801"/>
            <ac:cxnSpMk id="165" creationId="{264CCCDB-B4EB-AAB3-1594-5B37B4D590F3}"/>
          </ac:cxnSpMkLst>
        </pc:cxnChg>
        <pc:cxnChg chg="mod ord">
          <ac:chgData name="Leticia Silva" userId="ae98470f-b13e-4231-82f5-fda0897d4c9b" providerId="ADAL" clId="{7A89A945-E419-4319-80D2-C1034673F47F}" dt="2023-12-20T13:30:13.001" v="4680"/>
          <ac:cxnSpMkLst>
            <pc:docMk/>
            <pc:sldMk cId="1153576615" sldId="2147375801"/>
            <ac:cxnSpMk id="178" creationId="{B8CCD7BB-E95E-AE17-91E9-58B719B88578}"/>
          </ac:cxnSpMkLst>
        </pc:cxnChg>
        <pc:cxnChg chg="mod ord">
          <ac:chgData name="Leticia Silva" userId="ae98470f-b13e-4231-82f5-fda0897d4c9b" providerId="ADAL" clId="{7A89A945-E419-4319-80D2-C1034673F47F}" dt="2023-12-20T13:30:12.958" v="4516"/>
          <ac:cxnSpMkLst>
            <pc:docMk/>
            <pc:sldMk cId="1153576615" sldId="2147375801"/>
            <ac:cxnSpMk id="179" creationId="{EAA96DDF-684E-BC48-B8B6-0B2BA523B4D9}"/>
          </ac:cxnSpMkLst>
        </pc:cxnChg>
        <pc:cxnChg chg="mod ord">
          <ac:chgData name="Leticia Silva" userId="ae98470f-b13e-4231-82f5-fda0897d4c9b" providerId="ADAL" clId="{7A89A945-E419-4319-80D2-C1034673F47F}" dt="2023-12-20T13:30:13" v="4676"/>
          <ac:cxnSpMkLst>
            <pc:docMk/>
            <pc:sldMk cId="1153576615" sldId="2147375801"/>
            <ac:cxnSpMk id="180" creationId="{F9ABAB3B-432C-6DF8-AF7E-8D383BB930BD}"/>
          </ac:cxnSpMkLst>
        </pc:cxnChg>
        <pc:cxnChg chg="mod ord">
          <ac:chgData name="Leticia Silva" userId="ae98470f-b13e-4231-82f5-fda0897d4c9b" providerId="ADAL" clId="{7A89A945-E419-4319-80D2-C1034673F47F}" dt="2023-12-20T13:30:13.001" v="4678"/>
          <ac:cxnSpMkLst>
            <pc:docMk/>
            <pc:sldMk cId="1153576615" sldId="2147375801"/>
            <ac:cxnSpMk id="181" creationId="{96475D3B-0DE1-5FC3-2F91-7E9BA29410F2}"/>
          </ac:cxnSpMkLst>
        </pc:cxnChg>
        <pc:cxnChg chg="mod ord">
          <ac:chgData name="Leticia Silva" userId="ae98470f-b13e-4231-82f5-fda0897d4c9b" providerId="ADAL" clId="{7A89A945-E419-4319-80D2-C1034673F47F}" dt="2023-12-20T13:30:13" v="4674"/>
          <ac:cxnSpMkLst>
            <pc:docMk/>
            <pc:sldMk cId="1153576615" sldId="2147375801"/>
            <ac:cxnSpMk id="182" creationId="{7144F826-5507-813E-7693-2030F71C45B1}"/>
          </ac:cxnSpMkLst>
        </pc:cxnChg>
        <pc:cxnChg chg="mod ord">
          <ac:chgData name="Leticia Silva" userId="ae98470f-b13e-4231-82f5-fda0897d4c9b" providerId="ADAL" clId="{7A89A945-E419-4319-80D2-C1034673F47F}" dt="2023-12-20T13:30:12.966" v="4546"/>
          <ac:cxnSpMkLst>
            <pc:docMk/>
            <pc:sldMk cId="1153576615" sldId="2147375801"/>
            <ac:cxnSpMk id="239" creationId="{73E3A55E-475B-817C-212B-95A09E44BCFB}"/>
          </ac:cxnSpMkLst>
        </pc:cxnChg>
        <pc:cxnChg chg="add del mod ord replST delST">
          <ac:chgData name="Leticia Silva" userId="ae98470f-b13e-4231-82f5-fda0897d4c9b" providerId="ADAL" clId="{7A89A945-E419-4319-80D2-C1034673F47F}" dt="2023-12-20T13:29:32.328" v="3587"/>
          <ac:cxnSpMkLst>
            <pc:docMk/>
            <pc:sldMk cId="1153576615" sldId="2147375801"/>
            <ac:cxnSpMk id="242" creationId="{7350A7C1-164B-C464-AD56-1CE979FBE2F4}"/>
          </ac:cxnSpMkLst>
        </pc:cxnChg>
        <pc:cxnChg chg="mod ord">
          <ac:chgData name="Leticia Silva" userId="ae98470f-b13e-4231-82f5-fda0897d4c9b" providerId="ADAL" clId="{7A89A945-E419-4319-80D2-C1034673F47F}" dt="2023-12-20T13:30:12.967" v="4548"/>
          <ac:cxnSpMkLst>
            <pc:docMk/>
            <pc:sldMk cId="1153576615" sldId="2147375801"/>
            <ac:cxnSpMk id="243" creationId="{C73F5AA8-00D5-6D04-9292-5FE163EBDBB2}"/>
          </ac:cxnSpMkLst>
        </pc:cxnChg>
        <pc:cxnChg chg="add del mod ord replST delST">
          <ac:chgData name="Leticia Silva" userId="ae98470f-b13e-4231-82f5-fda0897d4c9b" providerId="ADAL" clId="{7A89A945-E419-4319-80D2-C1034673F47F}" dt="2023-12-20T13:29:32.328" v="3587"/>
          <ac:cxnSpMkLst>
            <pc:docMk/>
            <pc:sldMk cId="1153576615" sldId="2147375801"/>
            <ac:cxnSpMk id="244" creationId="{3EDD0F4D-A8B9-8C26-AF9A-0155FD8B60E8}"/>
          </ac:cxnSpMkLst>
        </pc:cxnChg>
        <pc:cxnChg chg="mod ord">
          <ac:chgData name="Leticia Silva" userId="ae98470f-b13e-4231-82f5-fda0897d4c9b" providerId="ADAL" clId="{7A89A945-E419-4319-80D2-C1034673F47F}" dt="2023-12-20T13:30:12.965" v="4544"/>
          <ac:cxnSpMkLst>
            <pc:docMk/>
            <pc:sldMk cId="1153576615" sldId="2147375801"/>
            <ac:cxnSpMk id="245" creationId="{D2FB6F13-B20C-DA56-18B6-EB255D36B5C4}"/>
          </ac:cxnSpMkLst>
        </pc:cxnChg>
        <pc:cxnChg chg="add del mod ord replST delST">
          <ac:chgData name="Leticia Silva" userId="ae98470f-b13e-4231-82f5-fda0897d4c9b" providerId="ADAL" clId="{7A89A945-E419-4319-80D2-C1034673F47F}" dt="2023-12-20T13:29:32.328" v="3587"/>
          <ac:cxnSpMkLst>
            <pc:docMk/>
            <pc:sldMk cId="1153576615" sldId="2147375801"/>
            <ac:cxnSpMk id="246" creationId="{8C7448F3-8335-4891-D86C-5247BE95711B}"/>
          </ac:cxnSpMkLst>
        </pc:cxnChg>
        <pc:cxnChg chg="add del mod ord replST delST">
          <ac:chgData name="Leticia Silva" userId="ae98470f-b13e-4231-82f5-fda0897d4c9b" providerId="ADAL" clId="{7A89A945-E419-4319-80D2-C1034673F47F}" dt="2023-12-20T13:29:32.328" v="3587"/>
          <ac:cxnSpMkLst>
            <pc:docMk/>
            <pc:sldMk cId="1153576615" sldId="2147375801"/>
            <ac:cxnSpMk id="247" creationId="{E0D26A8D-B183-6900-2A16-B407F305AA53}"/>
          </ac:cxnSpMkLst>
        </pc:cxnChg>
        <pc:cxnChg chg="add del mod ord replST delST">
          <ac:chgData name="Leticia Silva" userId="ae98470f-b13e-4231-82f5-fda0897d4c9b" providerId="ADAL" clId="{7A89A945-E419-4319-80D2-C1034673F47F}" dt="2023-12-20T13:29:32.328" v="3587"/>
          <ac:cxnSpMkLst>
            <pc:docMk/>
            <pc:sldMk cId="1153576615" sldId="2147375801"/>
            <ac:cxnSpMk id="248" creationId="{8C2293B8-DE11-CA39-F9CC-26DB10E2C569}"/>
          </ac:cxnSpMkLst>
        </pc:cxnChg>
        <pc:cxnChg chg="add del mod ord replST delST">
          <ac:chgData name="Leticia Silva" userId="ae98470f-b13e-4231-82f5-fda0897d4c9b" providerId="ADAL" clId="{7A89A945-E419-4319-80D2-C1034673F47F}" dt="2023-12-20T13:29:32.328" v="3587"/>
          <ac:cxnSpMkLst>
            <pc:docMk/>
            <pc:sldMk cId="1153576615" sldId="2147375801"/>
            <ac:cxnSpMk id="249" creationId="{966A23EE-4161-0C5C-9D12-CE35C33C69FA}"/>
          </ac:cxnSpMkLst>
        </pc:cxnChg>
        <pc:cxnChg chg="add mod ord replST">
          <ac:chgData name="Leticia Silva" userId="ae98470f-b13e-4231-82f5-fda0897d4c9b" providerId="ADAL" clId="{7A89A945-E419-4319-80D2-C1034673F47F}" dt="2023-12-20T13:30:12.945" v="4458"/>
          <ac:cxnSpMkLst>
            <pc:docMk/>
            <pc:sldMk cId="1153576615" sldId="2147375801"/>
            <ac:cxnSpMk id="255" creationId="{696D78A7-102B-564E-4F31-F36852694FBA}"/>
          </ac:cxnSpMkLst>
        </pc:cxnChg>
      </pc:sldChg>
    </pc:docChg>
  </pc:docChgLst>
  <pc:docChgLst>
    <pc:chgData name="Leticia Silva" userId="ae98470f-b13e-4231-82f5-fda0897d4c9b" providerId="ADAL" clId="{C1B26877-EBFA-4931-A53E-EEF465880588}"/>
    <pc:docChg chg="undo custSel modSld replTag">
      <pc:chgData name="Leticia Silva" userId="ae98470f-b13e-4231-82f5-fda0897d4c9b" providerId="ADAL" clId="{C1B26877-EBFA-4931-A53E-EEF465880588}" dt="2023-12-13T16:21:53.240" v="3833" actId="20577"/>
      <pc:docMkLst>
        <pc:docMk/>
      </pc:docMkLst>
      <pc:sldChg chg="modSp mod">
        <pc:chgData name="Leticia Silva" userId="ae98470f-b13e-4231-82f5-fda0897d4c9b" providerId="ADAL" clId="{C1B26877-EBFA-4931-A53E-EEF465880588}" dt="2023-12-13T14:30:00.901" v="3781" actId="20577"/>
        <pc:sldMkLst>
          <pc:docMk/>
          <pc:sldMk cId="3964595047" sldId="327"/>
        </pc:sldMkLst>
        <pc:spChg chg="mod">
          <ac:chgData name="Leticia Silva" userId="ae98470f-b13e-4231-82f5-fda0897d4c9b" providerId="ADAL" clId="{C1B26877-EBFA-4931-A53E-EEF465880588}" dt="2023-12-13T09:50:32.422" v="3" actId="20577"/>
          <ac:spMkLst>
            <pc:docMk/>
            <pc:sldMk cId="3964595047" sldId="327"/>
            <ac:spMk id="3" creationId="{FCCB28E9-57C2-6F42-8FC3-2BC3B58EA961}"/>
          </ac:spMkLst>
        </pc:spChg>
        <pc:spChg chg="mod">
          <ac:chgData name="Leticia Silva" userId="ae98470f-b13e-4231-82f5-fda0897d4c9b" providerId="ADAL" clId="{C1B26877-EBFA-4931-A53E-EEF465880588}" dt="2023-12-13T14:30:00.901" v="3781" actId="20577"/>
          <ac:spMkLst>
            <pc:docMk/>
            <pc:sldMk cId="3964595047" sldId="327"/>
            <ac:spMk id="4" creationId="{181436A4-2142-D060-55E8-64356F7A9DDF}"/>
          </ac:spMkLst>
        </pc:spChg>
      </pc:sldChg>
      <pc:sldChg chg="modSp mod">
        <pc:chgData name="Leticia Silva" userId="ae98470f-b13e-4231-82f5-fda0897d4c9b" providerId="ADAL" clId="{C1B26877-EBFA-4931-A53E-EEF465880588}" dt="2023-12-13T16:21:53.240" v="3833" actId="20577"/>
        <pc:sldMkLst>
          <pc:docMk/>
          <pc:sldMk cId="287634135" sldId="2147375742"/>
        </pc:sldMkLst>
        <pc:graphicFrameChg chg="mod modGraphic">
          <ac:chgData name="Leticia Silva" userId="ae98470f-b13e-4231-82f5-fda0897d4c9b" providerId="ADAL" clId="{C1B26877-EBFA-4931-A53E-EEF465880588}" dt="2023-12-13T16:21:53.240" v="3833" actId="20577"/>
          <ac:graphicFrameMkLst>
            <pc:docMk/>
            <pc:sldMk cId="287634135" sldId="2147375742"/>
            <ac:graphicFrameMk id="7" creationId="{1F13A2E4-818E-9DCE-8C94-2435952FC187}"/>
          </ac:graphicFrameMkLst>
        </pc:graphicFrameChg>
      </pc:sldChg>
      <pc:sldChg chg="modSp mod">
        <pc:chgData name="Leticia Silva" userId="ae98470f-b13e-4231-82f5-fda0897d4c9b" providerId="ADAL" clId="{C1B26877-EBFA-4931-A53E-EEF465880588}" dt="2023-12-13T09:52:14.890" v="3502" actId="13926"/>
        <pc:sldMkLst>
          <pc:docMk/>
          <pc:sldMk cId="3194976059" sldId="2147375744"/>
        </pc:sldMkLst>
        <pc:graphicFrameChg chg="modGraphic">
          <ac:chgData name="Leticia Silva" userId="ae98470f-b13e-4231-82f5-fda0897d4c9b" providerId="ADAL" clId="{C1B26877-EBFA-4931-A53E-EEF465880588}" dt="2023-12-13T09:52:14.890" v="3502" actId="13926"/>
          <ac:graphicFrameMkLst>
            <pc:docMk/>
            <pc:sldMk cId="3194976059" sldId="2147375744"/>
            <ac:graphicFrameMk id="7" creationId="{1F13A2E4-818E-9DCE-8C94-2435952FC187}"/>
          </ac:graphicFrameMkLst>
        </pc:graphicFrameChg>
      </pc:sldChg>
      <pc:sldChg chg="addSp delSp modSp mod">
        <pc:chgData name="Leticia Silva" userId="ae98470f-b13e-4231-82f5-fda0897d4c9b" providerId="ADAL" clId="{C1B26877-EBFA-4931-A53E-EEF465880588}" dt="2023-12-13T16:20:59.727" v="3832" actId="20577"/>
        <pc:sldMkLst>
          <pc:docMk/>
          <pc:sldMk cId="3953336687" sldId="2147375752"/>
        </pc:sldMkLst>
        <pc:spChg chg="add del mod modVis">
          <ac:chgData name="Leticia Silva" userId="ae98470f-b13e-4231-82f5-fda0897d4c9b" providerId="ADAL" clId="{C1B26877-EBFA-4931-A53E-EEF465880588}" dt="2023-12-13T09:50:40.339" v="30"/>
          <ac:spMkLst>
            <pc:docMk/>
            <pc:sldMk cId="3953336687" sldId="2147375752"/>
            <ac:spMk id="2" creationId="{338C5B44-795F-5410-F9D3-4612EA7C6DF1}"/>
          </ac:spMkLst>
        </pc:spChg>
        <pc:spChg chg="add del mod modVis">
          <ac:chgData name="Leticia Silva" userId="ae98470f-b13e-4231-82f5-fda0897d4c9b" providerId="ADAL" clId="{C1B26877-EBFA-4931-A53E-EEF465880588}" dt="2023-12-13T09:50:41.441" v="59"/>
          <ac:spMkLst>
            <pc:docMk/>
            <pc:sldMk cId="3953336687" sldId="2147375752"/>
            <ac:spMk id="3" creationId="{3BB7D168-2E1F-7917-03ED-8DBC45F63BE1}"/>
          </ac:spMkLst>
        </pc:spChg>
        <pc:spChg chg="add del mod modVis">
          <ac:chgData name="Leticia Silva" userId="ae98470f-b13e-4231-82f5-fda0897d4c9b" providerId="ADAL" clId="{C1B26877-EBFA-4931-A53E-EEF465880588}" dt="2023-12-13T09:50:46.518" v="88"/>
          <ac:spMkLst>
            <pc:docMk/>
            <pc:sldMk cId="3953336687" sldId="2147375752"/>
            <ac:spMk id="5" creationId="{248E800D-2D26-F704-EB44-EBBAB1144DC2}"/>
          </ac:spMkLst>
        </pc:spChg>
        <pc:spChg chg="mod">
          <ac:chgData name="Leticia Silva" userId="ae98470f-b13e-4231-82f5-fda0897d4c9b" providerId="ADAL" clId="{C1B26877-EBFA-4931-A53E-EEF465880588}" dt="2023-12-13T09:50:53.668" v="155" actId="948"/>
          <ac:spMkLst>
            <pc:docMk/>
            <pc:sldMk cId="3953336687" sldId="2147375752"/>
            <ac:spMk id="6" creationId="{2E9BCB2A-E542-21B8-A7FA-E4354ABE47D2}"/>
          </ac:spMkLst>
        </pc:spChg>
        <pc:spChg chg="add del mod modVis">
          <ac:chgData name="Leticia Silva" userId="ae98470f-b13e-4231-82f5-fda0897d4c9b" providerId="ADAL" clId="{C1B26877-EBFA-4931-A53E-EEF465880588}" dt="2023-12-13T09:50:47.569" v="117"/>
          <ac:spMkLst>
            <pc:docMk/>
            <pc:sldMk cId="3953336687" sldId="2147375752"/>
            <ac:spMk id="8" creationId="{C6BF5CEC-F258-8331-37B2-95597ABC9A4F}"/>
          </ac:spMkLst>
        </pc:spChg>
        <pc:spChg chg="add del mod modVis">
          <ac:chgData name="Leticia Silva" userId="ae98470f-b13e-4231-82f5-fda0897d4c9b" providerId="ADAL" clId="{C1B26877-EBFA-4931-A53E-EEF465880588}" dt="2023-12-13T09:50:52.790" v="149"/>
          <ac:spMkLst>
            <pc:docMk/>
            <pc:sldMk cId="3953336687" sldId="2147375752"/>
            <ac:spMk id="10" creationId="{BE634268-47E6-B2FB-FF56-BBE70268FA62}"/>
          </ac:spMkLst>
        </pc:spChg>
        <pc:spChg chg="mod">
          <ac:chgData name="Leticia Silva" userId="ae98470f-b13e-4231-82f5-fda0897d4c9b" providerId="ADAL" clId="{C1B26877-EBFA-4931-A53E-EEF465880588}" dt="2023-12-13T14:19:03.486" v="3683" actId="20577"/>
          <ac:spMkLst>
            <pc:docMk/>
            <pc:sldMk cId="3953336687" sldId="2147375752"/>
            <ac:spMk id="11" creationId="{61B6DCB1-4152-A1EB-DB24-534478AEE0EE}"/>
          </ac:spMkLst>
        </pc:spChg>
        <pc:spChg chg="add del mod modVis">
          <ac:chgData name="Leticia Silva" userId="ae98470f-b13e-4231-82f5-fda0897d4c9b" providerId="ADAL" clId="{C1B26877-EBFA-4931-A53E-EEF465880588}" dt="2023-12-13T09:50:53.700" v="179"/>
          <ac:spMkLst>
            <pc:docMk/>
            <pc:sldMk cId="3953336687" sldId="2147375752"/>
            <ac:spMk id="12" creationId="{8E85F443-C8C7-1B63-B79A-399CA96CD93A}"/>
          </ac:spMkLst>
        </pc:spChg>
        <pc:spChg chg="mod">
          <ac:chgData name="Leticia Silva" userId="ae98470f-b13e-4231-82f5-fda0897d4c9b" providerId="ADAL" clId="{C1B26877-EBFA-4931-A53E-EEF465880588}" dt="2023-12-13T16:20:59.727" v="3832" actId="20577"/>
          <ac:spMkLst>
            <pc:docMk/>
            <pc:sldMk cId="3953336687" sldId="2147375752"/>
            <ac:spMk id="17" creationId="{2E8D6115-0F54-700C-E153-7C7F63A01AED}"/>
          </ac:spMkLst>
        </pc:spChg>
        <pc:spChg chg="mod">
          <ac:chgData name="Leticia Silva" userId="ae98470f-b13e-4231-82f5-fda0897d4c9b" providerId="ADAL" clId="{C1B26877-EBFA-4931-A53E-EEF465880588}" dt="2023-12-13T16:00:56.057" v="3802" actId="20577"/>
          <ac:spMkLst>
            <pc:docMk/>
            <pc:sldMk cId="3953336687" sldId="2147375752"/>
            <ac:spMk id="18" creationId="{2DFDA6F5-9B4B-6556-3B36-1C525CD615F3}"/>
          </ac:spMkLst>
        </pc:spChg>
        <pc:graphicFrameChg chg="mod">
          <ac:chgData name="Leticia Silva" userId="ae98470f-b13e-4231-82f5-fda0897d4c9b" providerId="ADAL" clId="{C1B26877-EBFA-4931-A53E-EEF465880588}" dt="2023-12-13T09:50:53.704" v="181"/>
          <ac:graphicFrameMkLst>
            <pc:docMk/>
            <pc:sldMk cId="3953336687" sldId="2147375752"/>
            <ac:graphicFrameMk id="7" creationId="{F66DDAE5-9499-636E-1D1C-114278166184}"/>
          </ac:graphicFrameMkLst>
        </pc:graphicFrameChg>
      </pc:sldChg>
      <pc:sldChg chg="addSp delSp modSp mod">
        <pc:chgData name="Leticia Silva" userId="ae98470f-b13e-4231-82f5-fda0897d4c9b" providerId="ADAL" clId="{C1B26877-EBFA-4931-A53E-EEF465880588}" dt="2023-12-13T09:52:00.107" v="3501"/>
        <pc:sldMkLst>
          <pc:docMk/>
          <pc:sldMk cId="1153576615" sldId="2147375801"/>
        </pc:sldMkLst>
        <pc:spChg chg="mod ord">
          <ac:chgData name="Leticia Silva" userId="ae98470f-b13e-4231-82f5-fda0897d4c9b" providerId="ADAL" clId="{C1B26877-EBFA-4931-A53E-EEF465880588}" dt="2023-12-13T09:51:59.872" v="3371" actId="948"/>
          <ac:spMkLst>
            <pc:docMk/>
            <pc:sldMk cId="1153576615" sldId="2147375801"/>
            <ac:spMk id="2" creationId="{BE21EF19-570C-C27F-0965-ADAAF432A93E}"/>
          </ac:spMkLst>
        </pc:spChg>
        <pc:spChg chg="add del mod modVis">
          <ac:chgData name="Leticia Silva" userId="ae98470f-b13e-4231-82f5-fda0897d4c9b" providerId="ADAL" clId="{C1B26877-EBFA-4931-A53E-EEF465880588}" dt="2023-12-13T09:51:12.745" v="486"/>
          <ac:spMkLst>
            <pc:docMk/>
            <pc:sldMk cId="1153576615" sldId="2147375801"/>
            <ac:spMk id="3" creationId="{5FD5E881-1D16-9134-FBE6-8BF41C2999D4}"/>
          </ac:spMkLst>
        </pc:spChg>
        <pc:spChg chg="mod ord">
          <ac:chgData name="Leticia Silva" userId="ae98470f-b13e-4231-82f5-fda0897d4c9b" providerId="ADAL" clId="{C1B26877-EBFA-4931-A53E-EEF465880588}" dt="2023-12-13T09:51:53.283" v="2955"/>
          <ac:spMkLst>
            <pc:docMk/>
            <pc:sldMk cId="1153576615" sldId="2147375801"/>
            <ac:spMk id="4" creationId="{837120CE-D8AA-F1EF-A594-34586C5BF255}"/>
          </ac:spMkLst>
        </pc:spChg>
        <pc:spChg chg="mod ord">
          <ac:chgData name="Leticia Silva" userId="ae98470f-b13e-4231-82f5-fda0897d4c9b" providerId="ADAL" clId="{C1B26877-EBFA-4931-A53E-EEF465880588}" dt="2023-12-13T09:51:53.284" v="2957"/>
          <ac:spMkLst>
            <pc:docMk/>
            <pc:sldMk cId="1153576615" sldId="2147375801"/>
            <ac:spMk id="5" creationId="{156E35B2-BBC4-AFCE-B79E-B8C16542F036}"/>
          </ac:spMkLst>
        </pc:spChg>
        <pc:spChg chg="mod">
          <ac:chgData name="Leticia Silva" userId="ae98470f-b13e-4231-82f5-fda0897d4c9b" providerId="ADAL" clId="{C1B26877-EBFA-4931-A53E-EEF465880588}" dt="2023-12-13T09:52:00.006" v="3492"/>
          <ac:spMkLst>
            <pc:docMk/>
            <pc:sldMk cId="1153576615" sldId="2147375801"/>
            <ac:spMk id="6" creationId="{8A94C884-EB84-776A-0BAF-0624AB532A29}"/>
          </ac:spMkLst>
        </pc:spChg>
        <pc:spChg chg="mod ord">
          <ac:chgData name="Leticia Silva" userId="ae98470f-b13e-4231-82f5-fda0897d4c9b" providerId="ADAL" clId="{C1B26877-EBFA-4931-A53E-EEF465880588}" dt="2023-12-13T09:51:53.287" v="2961"/>
          <ac:spMkLst>
            <pc:docMk/>
            <pc:sldMk cId="1153576615" sldId="2147375801"/>
            <ac:spMk id="8" creationId="{B5EF31F3-AC77-EF92-90FF-DF117A12C044}"/>
          </ac:spMkLst>
        </pc:spChg>
        <pc:spChg chg="mod ord">
          <ac:chgData name="Leticia Silva" userId="ae98470f-b13e-4231-82f5-fda0897d4c9b" providerId="ADAL" clId="{C1B26877-EBFA-4931-A53E-EEF465880588}" dt="2023-12-13T09:51:53.286" v="2959"/>
          <ac:spMkLst>
            <pc:docMk/>
            <pc:sldMk cId="1153576615" sldId="2147375801"/>
            <ac:spMk id="9" creationId="{9DFB4F71-D59F-3442-478F-8A0833A0DE6A}"/>
          </ac:spMkLst>
        </pc:spChg>
        <pc:spChg chg="mod">
          <ac:chgData name="Leticia Silva" userId="ae98470f-b13e-4231-82f5-fda0897d4c9b" providerId="ADAL" clId="{C1B26877-EBFA-4931-A53E-EEF465880588}" dt="2023-12-13T09:51:59.961" v="3434"/>
          <ac:spMkLst>
            <pc:docMk/>
            <pc:sldMk cId="1153576615" sldId="2147375801"/>
            <ac:spMk id="10" creationId="{DADD3565-64DD-F653-C998-617524C88A08}"/>
          </ac:spMkLst>
        </pc:spChg>
        <pc:spChg chg="mod">
          <ac:chgData name="Leticia Silva" userId="ae98470f-b13e-4231-82f5-fda0897d4c9b" providerId="ADAL" clId="{C1B26877-EBFA-4931-A53E-EEF465880588}" dt="2023-12-13T09:51:59.962" v="3435"/>
          <ac:spMkLst>
            <pc:docMk/>
            <pc:sldMk cId="1153576615" sldId="2147375801"/>
            <ac:spMk id="11" creationId="{9F19C169-97CA-DFBB-19E0-0567A9D58FD3}"/>
          </ac:spMkLst>
        </pc:spChg>
        <pc:spChg chg="mod">
          <ac:chgData name="Leticia Silva" userId="ae98470f-b13e-4231-82f5-fda0897d4c9b" providerId="ADAL" clId="{C1B26877-EBFA-4931-A53E-EEF465880588}" dt="2023-12-13T09:51:59.963" v="3436"/>
          <ac:spMkLst>
            <pc:docMk/>
            <pc:sldMk cId="1153576615" sldId="2147375801"/>
            <ac:spMk id="12" creationId="{B0A6D696-E8DB-020D-E8F1-5301A9ADEC43}"/>
          </ac:spMkLst>
        </pc:spChg>
        <pc:spChg chg="mod">
          <ac:chgData name="Leticia Silva" userId="ae98470f-b13e-4231-82f5-fda0897d4c9b" providerId="ADAL" clId="{C1B26877-EBFA-4931-A53E-EEF465880588}" dt="2023-12-13T09:51:59.964" v="3437"/>
          <ac:spMkLst>
            <pc:docMk/>
            <pc:sldMk cId="1153576615" sldId="2147375801"/>
            <ac:spMk id="13" creationId="{73B33549-F875-BDA6-F830-3ED5E8E78143}"/>
          </ac:spMkLst>
        </pc:spChg>
        <pc:spChg chg="mod">
          <ac:chgData name="Leticia Silva" userId="ae98470f-b13e-4231-82f5-fda0897d4c9b" providerId="ADAL" clId="{C1B26877-EBFA-4931-A53E-EEF465880588}" dt="2023-12-13T09:51:59.964" v="3438"/>
          <ac:spMkLst>
            <pc:docMk/>
            <pc:sldMk cId="1153576615" sldId="2147375801"/>
            <ac:spMk id="14" creationId="{260E6B27-0998-F967-3E53-57C8E1A4AFDE}"/>
          </ac:spMkLst>
        </pc:spChg>
        <pc:spChg chg="mod">
          <ac:chgData name="Leticia Silva" userId="ae98470f-b13e-4231-82f5-fda0897d4c9b" providerId="ADAL" clId="{C1B26877-EBFA-4931-A53E-EEF465880588}" dt="2023-12-13T09:51:59.965" v="3439"/>
          <ac:spMkLst>
            <pc:docMk/>
            <pc:sldMk cId="1153576615" sldId="2147375801"/>
            <ac:spMk id="15" creationId="{B09BCE92-2C95-E2FF-5846-E507D276EDE5}"/>
          </ac:spMkLst>
        </pc:spChg>
        <pc:spChg chg="mod">
          <ac:chgData name="Leticia Silva" userId="ae98470f-b13e-4231-82f5-fda0897d4c9b" providerId="ADAL" clId="{C1B26877-EBFA-4931-A53E-EEF465880588}" dt="2023-12-13T09:51:59.965" v="3440"/>
          <ac:spMkLst>
            <pc:docMk/>
            <pc:sldMk cId="1153576615" sldId="2147375801"/>
            <ac:spMk id="16" creationId="{9EA94B67-9617-4307-3CAF-3C390A1E3E92}"/>
          </ac:spMkLst>
        </pc:spChg>
        <pc:spChg chg="mod">
          <ac:chgData name="Leticia Silva" userId="ae98470f-b13e-4231-82f5-fda0897d4c9b" providerId="ADAL" clId="{C1B26877-EBFA-4931-A53E-EEF465880588}" dt="2023-12-13T09:51:59.967" v="3441"/>
          <ac:spMkLst>
            <pc:docMk/>
            <pc:sldMk cId="1153576615" sldId="2147375801"/>
            <ac:spMk id="17" creationId="{BB311B17-C01A-87A4-F6A5-D19F81B046C1}"/>
          </ac:spMkLst>
        </pc:spChg>
        <pc:spChg chg="mod">
          <ac:chgData name="Leticia Silva" userId="ae98470f-b13e-4231-82f5-fda0897d4c9b" providerId="ADAL" clId="{C1B26877-EBFA-4931-A53E-EEF465880588}" dt="2023-12-13T09:51:59.968" v="3442"/>
          <ac:spMkLst>
            <pc:docMk/>
            <pc:sldMk cId="1153576615" sldId="2147375801"/>
            <ac:spMk id="18" creationId="{B9369D99-86E7-6754-E84B-4B19687A4055}"/>
          </ac:spMkLst>
        </pc:spChg>
        <pc:spChg chg="mod">
          <ac:chgData name="Leticia Silva" userId="ae98470f-b13e-4231-82f5-fda0897d4c9b" providerId="ADAL" clId="{C1B26877-EBFA-4931-A53E-EEF465880588}" dt="2023-12-13T09:51:59.969" v="3443"/>
          <ac:spMkLst>
            <pc:docMk/>
            <pc:sldMk cId="1153576615" sldId="2147375801"/>
            <ac:spMk id="19" creationId="{83FF59E6-13BE-14E9-DBFB-53FD43F412BB}"/>
          </ac:spMkLst>
        </pc:spChg>
        <pc:spChg chg="mod">
          <ac:chgData name="Leticia Silva" userId="ae98470f-b13e-4231-82f5-fda0897d4c9b" providerId="ADAL" clId="{C1B26877-EBFA-4931-A53E-EEF465880588}" dt="2023-12-13T09:51:59.969" v="3444"/>
          <ac:spMkLst>
            <pc:docMk/>
            <pc:sldMk cId="1153576615" sldId="2147375801"/>
            <ac:spMk id="20" creationId="{71760971-C251-302F-92CD-3594EA706CCA}"/>
          </ac:spMkLst>
        </pc:spChg>
        <pc:spChg chg="mod">
          <ac:chgData name="Leticia Silva" userId="ae98470f-b13e-4231-82f5-fda0897d4c9b" providerId="ADAL" clId="{C1B26877-EBFA-4931-A53E-EEF465880588}" dt="2023-12-13T09:51:59.970" v="3446"/>
          <ac:spMkLst>
            <pc:docMk/>
            <pc:sldMk cId="1153576615" sldId="2147375801"/>
            <ac:spMk id="21" creationId="{70407586-EC3D-9E0E-0876-F7043FFDE6D6}"/>
          </ac:spMkLst>
        </pc:spChg>
        <pc:spChg chg="mod">
          <ac:chgData name="Leticia Silva" userId="ae98470f-b13e-4231-82f5-fda0897d4c9b" providerId="ADAL" clId="{C1B26877-EBFA-4931-A53E-EEF465880588}" dt="2023-12-13T09:51:59.971" v="3447"/>
          <ac:spMkLst>
            <pc:docMk/>
            <pc:sldMk cId="1153576615" sldId="2147375801"/>
            <ac:spMk id="22" creationId="{B42C536B-C963-1F9A-DE3B-18BFC857ADE0}"/>
          </ac:spMkLst>
        </pc:spChg>
        <pc:spChg chg="mod">
          <ac:chgData name="Leticia Silva" userId="ae98470f-b13e-4231-82f5-fda0897d4c9b" providerId="ADAL" clId="{C1B26877-EBFA-4931-A53E-EEF465880588}" dt="2023-12-13T09:51:59.972" v="3448"/>
          <ac:spMkLst>
            <pc:docMk/>
            <pc:sldMk cId="1153576615" sldId="2147375801"/>
            <ac:spMk id="23" creationId="{B9833737-7653-095F-6627-D29139397F37}"/>
          </ac:spMkLst>
        </pc:spChg>
        <pc:spChg chg="mod">
          <ac:chgData name="Leticia Silva" userId="ae98470f-b13e-4231-82f5-fda0897d4c9b" providerId="ADAL" clId="{C1B26877-EBFA-4931-A53E-EEF465880588}" dt="2023-12-13T09:51:59.973" v="3449"/>
          <ac:spMkLst>
            <pc:docMk/>
            <pc:sldMk cId="1153576615" sldId="2147375801"/>
            <ac:spMk id="24" creationId="{C1E6A596-3543-8F05-2C1E-9353BCB988BC}"/>
          </ac:spMkLst>
        </pc:spChg>
        <pc:spChg chg="mod">
          <ac:chgData name="Leticia Silva" userId="ae98470f-b13e-4231-82f5-fda0897d4c9b" providerId="ADAL" clId="{C1B26877-EBFA-4931-A53E-EEF465880588}" dt="2023-12-13T09:51:59.973" v="3450"/>
          <ac:spMkLst>
            <pc:docMk/>
            <pc:sldMk cId="1153576615" sldId="2147375801"/>
            <ac:spMk id="25" creationId="{55E7578B-D79B-84A0-41E4-4BBFCF2ABEDC}"/>
          </ac:spMkLst>
        </pc:spChg>
        <pc:spChg chg="mod">
          <ac:chgData name="Leticia Silva" userId="ae98470f-b13e-4231-82f5-fda0897d4c9b" providerId="ADAL" clId="{C1B26877-EBFA-4931-A53E-EEF465880588}" dt="2023-12-13T09:51:59.975" v="3451"/>
          <ac:spMkLst>
            <pc:docMk/>
            <pc:sldMk cId="1153576615" sldId="2147375801"/>
            <ac:spMk id="26" creationId="{1C99399F-DCB0-809F-EA89-FBCE9C7D09F0}"/>
          </ac:spMkLst>
        </pc:spChg>
        <pc:spChg chg="mod">
          <ac:chgData name="Leticia Silva" userId="ae98470f-b13e-4231-82f5-fda0897d4c9b" providerId="ADAL" clId="{C1B26877-EBFA-4931-A53E-EEF465880588}" dt="2023-12-13T09:51:59.975" v="3452"/>
          <ac:spMkLst>
            <pc:docMk/>
            <pc:sldMk cId="1153576615" sldId="2147375801"/>
            <ac:spMk id="27" creationId="{27AD783D-BADA-2AEF-509F-170F4BC39963}"/>
          </ac:spMkLst>
        </pc:spChg>
        <pc:spChg chg="mod">
          <ac:chgData name="Leticia Silva" userId="ae98470f-b13e-4231-82f5-fda0897d4c9b" providerId="ADAL" clId="{C1B26877-EBFA-4931-A53E-EEF465880588}" dt="2023-12-13T09:51:59.975" v="3453"/>
          <ac:spMkLst>
            <pc:docMk/>
            <pc:sldMk cId="1153576615" sldId="2147375801"/>
            <ac:spMk id="28" creationId="{CD16BB38-6F19-C706-219D-314BF3FC599D}"/>
          </ac:spMkLst>
        </pc:spChg>
        <pc:spChg chg="mod">
          <ac:chgData name="Leticia Silva" userId="ae98470f-b13e-4231-82f5-fda0897d4c9b" providerId="ADAL" clId="{C1B26877-EBFA-4931-A53E-EEF465880588}" dt="2023-12-13T09:51:59.976" v="3454"/>
          <ac:spMkLst>
            <pc:docMk/>
            <pc:sldMk cId="1153576615" sldId="2147375801"/>
            <ac:spMk id="29" creationId="{4FB63A61-07D0-A6BF-4A1B-421D44C82950}"/>
          </ac:spMkLst>
        </pc:spChg>
        <pc:spChg chg="mod">
          <ac:chgData name="Leticia Silva" userId="ae98470f-b13e-4231-82f5-fda0897d4c9b" providerId="ADAL" clId="{C1B26877-EBFA-4931-A53E-EEF465880588}" dt="2023-12-13T09:51:59.977" v="3455"/>
          <ac:spMkLst>
            <pc:docMk/>
            <pc:sldMk cId="1153576615" sldId="2147375801"/>
            <ac:spMk id="30" creationId="{A9E61E41-DA4C-C2FD-4145-934A3DE0A7CA}"/>
          </ac:spMkLst>
        </pc:spChg>
        <pc:spChg chg="mod">
          <ac:chgData name="Leticia Silva" userId="ae98470f-b13e-4231-82f5-fda0897d4c9b" providerId="ADAL" clId="{C1B26877-EBFA-4931-A53E-EEF465880588}" dt="2023-12-13T09:51:59.977" v="3456"/>
          <ac:spMkLst>
            <pc:docMk/>
            <pc:sldMk cId="1153576615" sldId="2147375801"/>
            <ac:spMk id="31" creationId="{127F9E5C-7D60-E10A-72BD-947181265C90}"/>
          </ac:spMkLst>
        </pc:spChg>
        <pc:spChg chg="mod">
          <ac:chgData name="Leticia Silva" userId="ae98470f-b13e-4231-82f5-fda0897d4c9b" providerId="ADAL" clId="{C1B26877-EBFA-4931-A53E-EEF465880588}" dt="2023-12-13T09:51:59.978" v="3457"/>
          <ac:spMkLst>
            <pc:docMk/>
            <pc:sldMk cId="1153576615" sldId="2147375801"/>
            <ac:spMk id="32" creationId="{2DF7FED5-0CF9-D309-8CAD-3AA110C66B69}"/>
          </ac:spMkLst>
        </pc:spChg>
        <pc:spChg chg="mod">
          <ac:chgData name="Leticia Silva" userId="ae98470f-b13e-4231-82f5-fda0897d4c9b" providerId="ADAL" clId="{C1B26877-EBFA-4931-A53E-EEF465880588}" dt="2023-12-13T09:51:59.978" v="3458"/>
          <ac:spMkLst>
            <pc:docMk/>
            <pc:sldMk cId="1153576615" sldId="2147375801"/>
            <ac:spMk id="33" creationId="{6322D276-8900-F343-9DB8-5F4DB34A6485}"/>
          </ac:spMkLst>
        </pc:spChg>
        <pc:spChg chg="mod">
          <ac:chgData name="Leticia Silva" userId="ae98470f-b13e-4231-82f5-fda0897d4c9b" providerId="ADAL" clId="{C1B26877-EBFA-4931-A53E-EEF465880588}" dt="2023-12-13T09:51:59.979" v="3459"/>
          <ac:spMkLst>
            <pc:docMk/>
            <pc:sldMk cId="1153576615" sldId="2147375801"/>
            <ac:spMk id="34" creationId="{2ABA4105-2BF5-406E-09BE-A243DF56CA8B}"/>
          </ac:spMkLst>
        </pc:spChg>
        <pc:spChg chg="mod">
          <ac:chgData name="Leticia Silva" userId="ae98470f-b13e-4231-82f5-fda0897d4c9b" providerId="ADAL" clId="{C1B26877-EBFA-4931-A53E-EEF465880588}" dt="2023-12-13T09:51:59.980" v="3460"/>
          <ac:spMkLst>
            <pc:docMk/>
            <pc:sldMk cId="1153576615" sldId="2147375801"/>
            <ac:spMk id="35" creationId="{3B27BF8D-5D11-05A7-D57A-78EBC6D40930}"/>
          </ac:spMkLst>
        </pc:spChg>
        <pc:spChg chg="mod">
          <ac:chgData name="Leticia Silva" userId="ae98470f-b13e-4231-82f5-fda0897d4c9b" providerId="ADAL" clId="{C1B26877-EBFA-4931-A53E-EEF465880588}" dt="2023-12-13T09:51:59.981" v="3461"/>
          <ac:spMkLst>
            <pc:docMk/>
            <pc:sldMk cId="1153576615" sldId="2147375801"/>
            <ac:spMk id="36" creationId="{BB3E1D5D-C3E9-76A1-60C2-16927A361FD3}"/>
          </ac:spMkLst>
        </pc:spChg>
        <pc:spChg chg="mod">
          <ac:chgData name="Leticia Silva" userId="ae98470f-b13e-4231-82f5-fda0897d4c9b" providerId="ADAL" clId="{C1B26877-EBFA-4931-A53E-EEF465880588}" dt="2023-12-13T09:51:59.982" v="3462"/>
          <ac:spMkLst>
            <pc:docMk/>
            <pc:sldMk cId="1153576615" sldId="2147375801"/>
            <ac:spMk id="37" creationId="{197D9211-C91A-79C4-0A29-5835ED664AFE}"/>
          </ac:spMkLst>
        </pc:spChg>
        <pc:spChg chg="mod">
          <ac:chgData name="Leticia Silva" userId="ae98470f-b13e-4231-82f5-fda0897d4c9b" providerId="ADAL" clId="{C1B26877-EBFA-4931-A53E-EEF465880588}" dt="2023-12-13T09:51:59.983" v="3463"/>
          <ac:spMkLst>
            <pc:docMk/>
            <pc:sldMk cId="1153576615" sldId="2147375801"/>
            <ac:spMk id="38" creationId="{E94D6CCD-E5FB-E22E-4839-C606EF3A93C4}"/>
          </ac:spMkLst>
        </pc:spChg>
        <pc:spChg chg="mod">
          <ac:chgData name="Leticia Silva" userId="ae98470f-b13e-4231-82f5-fda0897d4c9b" providerId="ADAL" clId="{C1B26877-EBFA-4931-A53E-EEF465880588}" dt="2023-12-13T09:51:59.983" v="3464"/>
          <ac:spMkLst>
            <pc:docMk/>
            <pc:sldMk cId="1153576615" sldId="2147375801"/>
            <ac:spMk id="39" creationId="{58960C70-9EE2-1DBC-322F-525356829C46}"/>
          </ac:spMkLst>
        </pc:spChg>
        <pc:spChg chg="mod">
          <ac:chgData name="Leticia Silva" userId="ae98470f-b13e-4231-82f5-fda0897d4c9b" providerId="ADAL" clId="{C1B26877-EBFA-4931-A53E-EEF465880588}" dt="2023-12-13T09:51:59.984" v="3465"/>
          <ac:spMkLst>
            <pc:docMk/>
            <pc:sldMk cId="1153576615" sldId="2147375801"/>
            <ac:spMk id="40" creationId="{AA64F5A1-847D-E54D-DE64-0A5DE979F76E}"/>
          </ac:spMkLst>
        </pc:spChg>
        <pc:spChg chg="mod">
          <ac:chgData name="Leticia Silva" userId="ae98470f-b13e-4231-82f5-fda0897d4c9b" providerId="ADAL" clId="{C1B26877-EBFA-4931-A53E-EEF465880588}" dt="2023-12-13T09:51:59.986" v="3466"/>
          <ac:spMkLst>
            <pc:docMk/>
            <pc:sldMk cId="1153576615" sldId="2147375801"/>
            <ac:spMk id="41" creationId="{A5D00357-B5E4-3DB3-F901-9B593820D0E2}"/>
          </ac:spMkLst>
        </pc:spChg>
        <pc:spChg chg="mod">
          <ac:chgData name="Leticia Silva" userId="ae98470f-b13e-4231-82f5-fda0897d4c9b" providerId="ADAL" clId="{C1B26877-EBFA-4931-A53E-EEF465880588}" dt="2023-12-13T09:51:59.986" v="3467"/>
          <ac:spMkLst>
            <pc:docMk/>
            <pc:sldMk cId="1153576615" sldId="2147375801"/>
            <ac:spMk id="42" creationId="{7F65D740-0241-5AE6-A063-ED643A7EFF9C}"/>
          </ac:spMkLst>
        </pc:spChg>
        <pc:spChg chg="mod">
          <ac:chgData name="Leticia Silva" userId="ae98470f-b13e-4231-82f5-fda0897d4c9b" providerId="ADAL" clId="{C1B26877-EBFA-4931-A53E-EEF465880588}" dt="2023-12-13T09:51:59.987" v="3468"/>
          <ac:spMkLst>
            <pc:docMk/>
            <pc:sldMk cId="1153576615" sldId="2147375801"/>
            <ac:spMk id="43" creationId="{C1DB0041-2EDF-BC99-F073-AD04E829BE1E}"/>
          </ac:spMkLst>
        </pc:spChg>
        <pc:spChg chg="mod">
          <ac:chgData name="Leticia Silva" userId="ae98470f-b13e-4231-82f5-fda0897d4c9b" providerId="ADAL" clId="{C1B26877-EBFA-4931-A53E-EEF465880588}" dt="2023-12-13T09:51:59.987" v="3469"/>
          <ac:spMkLst>
            <pc:docMk/>
            <pc:sldMk cId="1153576615" sldId="2147375801"/>
            <ac:spMk id="44" creationId="{5F67EF46-5F05-B74A-8F6C-F480BBA431A7}"/>
          </ac:spMkLst>
        </pc:spChg>
        <pc:spChg chg="mod">
          <ac:chgData name="Leticia Silva" userId="ae98470f-b13e-4231-82f5-fda0897d4c9b" providerId="ADAL" clId="{C1B26877-EBFA-4931-A53E-EEF465880588}" dt="2023-12-13T09:51:59.988" v="3470"/>
          <ac:spMkLst>
            <pc:docMk/>
            <pc:sldMk cId="1153576615" sldId="2147375801"/>
            <ac:spMk id="45" creationId="{2174AD16-2195-4742-7E52-2E73CF3DCDBE}"/>
          </ac:spMkLst>
        </pc:spChg>
        <pc:spChg chg="mod">
          <ac:chgData name="Leticia Silva" userId="ae98470f-b13e-4231-82f5-fda0897d4c9b" providerId="ADAL" clId="{C1B26877-EBFA-4931-A53E-EEF465880588}" dt="2023-12-13T09:51:59.989" v="3471"/>
          <ac:spMkLst>
            <pc:docMk/>
            <pc:sldMk cId="1153576615" sldId="2147375801"/>
            <ac:spMk id="46" creationId="{1A348670-4A81-F6D0-19E3-F7B2D265F775}"/>
          </ac:spMkLst>
        </pc:spChg>
        <pc:spChg chg="mod">
          <ac:chgData name="Leticia Silva" userId="ae98470f-b13e-4231-82f5-fda0897d4c9b" providerId="ADAL" clId="{C1B26877-EBFA-4931-A53E-EEF465880588}" dt="2023-12-13T09:51:59.990" v="3472"/>
          <ac:spMkLst>
            <pc:docMk/>
            <pc:sldMk cId="1153576615" sldId="2147375801"/>
            <ac:spMk id="47" creationId="{ED5A6D35-861F-B455-EE4E-893E5C980B19}"/>
          </ac:spMkLst>
        </pc:spChg>
        <pc:spChg chg="mod">
          <ac:chgData name="Leticia Silva" userId="ae98470f-b13e-4231-82f5-fda0897d4c9b" providerId="ADAL" clId="{C1B26877-EBFA-4931-A53E-EEF465880588}" dt="2023-12-13T09:51:59.990" v="3473"/>
          <ac:spMkLst>
            <pc:docMk/>
            <pc:sldMk cId="1153576615" sldId="2147375801"/>
            <ac:spMk id="48" creationId="{A66E0497-7321-F487-4FEB-A440D6AD75CD}"/>
          </ac:spMkLst>
        </pc:spChg>
        <pc:spChg chg="mod">
          <ac:chgData name="Leticia Silva" userId="ae98470f-b13e-4231-82f5-fda0897d4c9b" providerId="ADAL" clId="{C1B26877-EBFA-4931-A53E-EEF465880588}" dt="2023-12-13T09:51:59.991" v="3474"/>
          <ac:spMkLst>
            <pc:docMk/>
            <pc:sldMk cId="1153576615" sldId="2147375801"/>
            <ac:spMk id="49" creationId="{E9BEE94C-E6BF-DDD6-237D-0E192AA14808}"/>
          </ac:spMkLst>
        </pc:spChg>
        <pc:spChg chg="mod">
          <ac:chgData name="Leticia Silva" userId="ae98470f-b13e-4231-82f5-fda0897d4c9b" providerId="ADAL" clId="{C1B26877-EBFA-4931-A53E-EEF465880588}" dt="2023-12-13T09:51:59.992" v="3475"/>
          <ac:spMkLst>
            <pc:docMk/>
            <pc:sldMk cId="1153576615" sldId="2147375801"/>
            <ac:spMk id="50" creationId="{981936E5-7436-75DC-28F0-7B1C1CA14D1A}"/>
          </ac:spMkLst>
        </pc:spChg>
        <pc:spChg chg="mod">
          <ac:chgData name="Leticia Silva" userId="ae98470f-b13e-4231-82f5-fda0897d4c9b" providerId="ADAL" clId="{C1B26877-EBFA-4931-A53E-EEF465880588}" dt="2023-12-13T09:51:59.993" v="3476"/>
          <ac:spMkLst>
            <pc:docMk/>
            <pc:sldMk cId="1153576615" sldId="2147375801"/>
            <ac:spMk id="51" creationId="{534BD4BD-F63A-9F95-7B21-DB3AC7B7759A}"/>
          </ac:spMkLst>
        </pc:spChg>
        <pc:spChg chg="mod">
          <ac:chgData name="Leticia Silva" userId="ae98470f-b13e-4231-82f5-fda0897d4c9b" providerId="ADAL" clId="{C1B26877-EBFA-4931-A53E-EEF465880588}" dt="2023-12-13T09:51:59.993" v="3477"/>
          <ac:spMkLst>
            <pc:docMk/>
            <pc:sldMk cId="1153576615" sldId="2147375801"/>
            <ac:spMk id="52" creationId="{4EC47D91-AF28-30A8-EE21-61A4847F9864}"/>
          </ac:spMkLst>
        </pc:spChg>
        <pc:spChg chg="mod">
          <ac:chgData name="Leticia Silva" userId="ae98470f-b13e-4231-82f5-fda0897d4c9b" providerId="ADAL" clId="{C1B26877-EBFA-4931-A53E-EEF465880588}" dt="2023-12-13T09:51:59.994" v="3478"/>
          <ac:spMkLst>
            <pc:docMk/>
            <pc:sldMk cId="1153576615" sldId="2147375801"/>
            <ac:spMk id="53" creationId="{0A5CA914-A23B-0F29-F519-9088B10B8A07}"/>
          </ac:spMkLst>
        </pc:spChg>
        <pc:spChg chg="mod">
          <ac:chgData name="Leticia Silva" userId="ae98470f-b13e-4231-82f5-fda0897d4c9b" providerId="ADAL" clId="{C1B26877-EBFA-4931-A53E-EEF465880588}" dt="2023-12-13T09:51:59.994" v="3479"/>
          <ac:spMkLst>
            <pc:docMk/>
            <pc:sldMk cId="1153576615" sldId="2147375801"/>
            <ac:spMk id="54" creationId="{465760F3-B410-8752-EE7F-1AD68F63CB0F}"/>
          </ac:spMkLst>
        </pc:spChg>
        <pc:spChg chg="mod">
          <ac:chgData name="Leticia Silva" userId="ae98470f-b13e-4231-82f5-fda0897d4c9b" providerId="ADAL" clId="{C1B26877-EBFA-4931-A53E-EEF465880588}" dt="2023-12-13T09:51:59.996" v="3480"/>
          <ac:spMkLst>
            <pc:docMk/>
            <pc:sldMk cId="1153576615" sldId="2147375801"/>
            <ac:spMk id="55" creationId="{73689384-BEA1-C6B0-7B70-D5B6B37AEB70}"/>
          </ac:spMkLst>
        </pc:spChg>
        <pc:spChg chg="mod">
          <ac:chgData name="Leticia Silva" userId="ae98470f-b13e-4231-82f5-fda0897d4c9b" providerId="ADAL" clId="{C1B26877-EBFA-4931-A53E-EEF465880588}" dt="2023-12-13T09:51:59.996" v="3481"/>
          <ac:spMkLst>
            <pc:docMk/>
            <pc:sldMk cId="1153576615" sldId="2147375801"/>
            <ac:spMk id="56" creationId="{601D9277-75BF-56B5-FE6E-1822E13F5B2E}"/>
          </ac:spMkLst>
        </pc:spChg>
        <pc:spChg chg="mod">
          <ac:chgData name="Leticia Silva" userId="ae98470f-b13e-4231-82f5-fda0897d4c9b" providerId="ADAL" clId="{C1B26877-EBFA-4931-A53E-EEF465880588}" dt="2023-12-13T09:51:59.997" v="3482"/>
          <ac:spMkLst>
            <pc:docMk/>
            <pc:sldMk cId="1153576615" sldId="2147375801"/>
            <ac:spMk id="57" creationId="{139A9566-ACA5-E151-1EC7-C1975BED2916}"/>
          </ac:spMkLst>
        </pc:spChg>
        <pc:spChg chg="mod">
          <ac:chgData name="Leticia Silva" userId="ae98470f-b13e-4231-82f5-fda0897d4c9b" providerId="ADAL" clId="{C1B26877-EBFA-4931-A53E-EEF465880588}" dt="2023-12-13T09:51:59.997" v="3483"/>
          <ac:spMkLst>
            <pc:docMk/>
            <pc:sldMk cId="1153576615" sldId="2147375801"/>
            <ac:spMk id="58" creationId="{34294F75-2BF8-803F-B1FE-CCD8A3D81980}"/>
          </ac:spMkLst>
        </pc:spChg>
        <pc:spChg chg="mod">
          <ac:chgData name="Leticia Silva" userId="ae98470f-b13e-4231-82f5-fda0897d4c9b" providerId="ADAL" clId="{C1B26877-EBFA-4931-A53E-EEF465880588}" dt="2023-12-13T09:51:59.998" v="3484"/>
          <ac:spMkLst>
            <pc:docMk/>
            <pc:sldMk cId="1153576615" sldId="2147375801"/>
            <ac:spMk id="59" creationId="{F1F92DED-2DDF-CD36-78F9-7D36BC64F216}"/>
          </ac:spMkLst>
        </pc:spChg>
        <pc:spChg chg="mod">
          <ac:chgData name="Leticia Silva" userId="ae98470f-b13e-4231-82f5-fda0897d4c9b" providerId="ADAL" clId="{C1B26877-EBFA-4931-A53E-EEF465880588}" dt="2023-12-13T09:51:59.999" v="3485"/>
          <ac:spMkLst>
            <pc:docMk/>
            <pc:sldMk cId="1153576615" sldId="2147375801"/>
            <ac:spMk id="60" creationId="{80EDDB9E-80BE-A4E7-921E-DE9A60F6367C}"/>
          </ac:spMkLst>
        </pc:spChg>
        <pc:spChg chg="mod">
          <ac:chgData name="Leticia Silva" userId="ae98470f-b13e-4231-82f5-fda0897d4c9b" providerId="ADAL" clId="{C1B26877-EBFA-4931-A53E-EEF465880588}" dt="2023-12-13T09:52:00" v="3486"/>
          <ac:spMkLst>
            <pc:docMk/>
            <pc:sldMk cId="1153576615" sldId="2147375801"/>
            <ac:spMk id="61" creationId="{2E27B4DE-8219-903E-2AFA-FB820035B2E8}"/>
          </ac:spMkLst>
        </pc:spChg>
        <pc:spChg chg="mod">
          <ac:chgData name="Leticia Silva" userId="ae98470f-b13e-4231-82f5-fda0897d4c9b" providerId="ADAL" clId="{C1B26877-EBFA-4931-A53E-EEF465880588}" dt="2023-12-13T09:52:00" v="3487"/>
          <ac:spMkLst>
            <pc:docMk/>
            <pc:sldMk cId="1153576615" sldId="2147375801"/>
            <ac:spMk id="62" creationId="{32E4F4EE-B898-212B-911E-3AD7E30A0BAF}"/>
          </ac:spMkLst>
        </pc:spChg>
        <pc:spChg chg="mod">
          <ac:chgData name="Leticia Silva" userId="ae98470f-b13e-4231-82f5-fda0897d4c9b" providerId="ADAL" clId="{C1B26877-EBFA-4931-A53E-EEF465880588}" dt="2023-12-13T09:52:00.002" v="3488"/>
          <ac:spMkLst>
            <pc:docMk/>
            <pc:sldMk cId="1153576615" sldId="2147375801"/>
            <ac:spMk id="63" creationId="{A4579D33-9274-EE32-F85E-C7AC5B762479}"/>
          </ac:spMkLst>
        </pc:spChg>
        <pc:spChg chg="mod">
          <ac:chgData name="Leticia Silva" userId="ae98470f-b13e-4231-82f5-fda0897d4c9b" providerId="ADAL" clId="{C1B26877-EBFA-4931-A53E-EEF465880588}" dt="2023-12-13T09:52:00.003" v="3489"/>
          <ac:spMkLst>
            <pc:docMk/>
            <pc:sldMk cId="1153576615" sldId="2147375801"/>
            <ac:spMk id="64" creationId="{B2E230B9-249A-A7B9-04DF-B6EE4D033968}"/>
          </ac:spMkLst>
        </pc:spChg>
        <pc:spChg chg="mod">
          <ac:chgData name="Leticia Silva" userId="ae98470f-b13e-4231-82f5-fda0897d4c9b" providerId="ADAL" clId="{C1B26877-EBFA-4931-A53E-EEF465880588}" dt="2023-12-13T09:52:00.004" v="3490"/>
          <ac:spMkLst>
            <pc:docMk/>
            <pc:sldMk cId="1153576615" sldId="2147375801"/>
            <ac:spMk id="65" creationId="{2FBA09A4-4F80-DFD1-07A6-18BFE8A23362}"/>
          </ac:spMkLst>
        </pc:spChg>
        <pc:spChg chg="mod">
          <ac:chgData name="Leticia Silva" userId="ae98470f-b13e-4231-82f5-fda0897d4c9b" providerId="ADAL" clId="{C1B26877-EBFA-4931-A53E-EEF465880588}" dt="2023-12-13T09:52:00.006" v="3491"/>
          <ac:spMkLst>
            <pc:docMk/>
            <pc:sldMk cId="1153576615" sldId="2147375801"/>
            <ac:spMk id="66" creationId="{0F5BA2E1-F877-6AEA-E7E5-4A4DDA6B567A}"/>
          </ac:spMkLst>
        </pc:spChg>
        <pc:spChg chg="add del mod modVis">
          <ac:chgData name="Leticia Silva" userId="ae98470f-b13e-4231-82f5-fda0897d4c9b" providerId="ADAL" clId="{C1B26877-EBFA-4931-A53E-EEF465880588}" dt="2023-12-13T09:51:53.449" v="3368"/>
          <ac:spMkLst>
            <pc:docMk/>
            <pc:sldMk cId="1153576615" sldId="2147375801"/>
            <ac:spMk id="102" creationId="{0E1B7F73-5259-3ECC-CE60-BD96C9A2A796}"/>
          </ac:spMkLst>
        </pc:spChg>
        <pc:spChg chg="mod ord">
          <ac:chgData name="Leticia Silva" userId="ae98470f-b13e-4231-82f5-fda0897d4c9b" providerId="ADAL" clId="{C1B26877-EBFA-4931-A53E-EEF465880588}" dt="2023-12-13T09:51:53.366" v="3153"/>
          <ac:spMkLst>
            <pc:docMk/>
            <pc:sldMk cId="1153576615" sldId="2147375801"/>
            <ac:spMk id="130" creationId="{29DA7E26-579B-6413-63AD-0202A32865CD}"/>
          </ac:spMkLst>
        </pc:spChg>
        <pc:spChg chg="mod ord">
          <ac:chgData name="Leticia Silva" userId="ae98470f-b13e-4231-82f5-fda0897d4c9b" providerId="ADAL" clId="{C1B26877-EBFA-4931-A53E-EEF465880588}" dt="2023-12-13T09:51:53.369" v="3163"/>
          <ac:spMkLst>
            <pc:docMk/>
            <pc:sldMk cId="1153576615" sldId="2147375801"/>
            <ac:spMk id="131" creationId="{72C86229-0E5F-A425-3180-2E85CA11C247}"/>
          </ac:spMkLst>
        </pc:spChg>
        <pc:spChg chg="mod ord">
          <ac:chgData name="Leticia Silva" userId="ae98470f-b13e-4231-82f5-fda0897d4c9b" providerId="ADAL" clId="{C1B26877-EBFA-4931-A53E-EEF465880588}" dt="2023-12-13T09:51:53.366" v="3155"/>
          <ac:spMkLst>
            <pc:docMk/>
            <pc:sldMk cId="1153576615" sldId="2147375801"/>
            <ac:spMk id="132" creationId="{B9DAC29B-F272-D3C7-1AA5-D008469AAB49}"/>
          </ac:spMkLst>
        </pc:spChg>
        <pc:spChg chg="mod ord">
          <ac:chgData name="Leticia Silva" userId="ae98470f-b13e-4231-82f5-fda0897d4c9b" providerId="ADAL" clId="{C1B26877-EBFA-4931-A53E-EEF465880588}" dt="2023-12-13T09:51:53.367" v="3157"/>
          <ac:spMkLst>
            <pc:docMk/>
            <pc:sldMk cId="1153576615" sldId="2147375801"/>
            <ac:spMk id="133" creationId="{C175C043-FF19-02B4-6AF1-35F72847ED54}"/>
          </ac:spMkLst>
        </pc:spChg>
        <pc:spChg chg="mod ord">
          <ac:chgData name="Leticia Silva" userId="ae98470f-b13e-4231-82f5-fda0897d4c9b" providerId="ADAL" clId="{C1B26877-EBFA-4931-A53E-EEF465880588}" dt="2023-12-13T09:51:53.369" v="3161"/>
          <ac:spMkLst>
            <pc:docMk/>
            <pc:sldMk cId="1153576615" sldId="2147375801"/>
            <ac:spMk id="134" creationId="{86210A8B-1F54-E426-24F9-5FCAB58E8952}"/>
          </ac:spMkLst>
        </pc:spChg>
        <pc:spChg chg="mod ord">
          <ac:chgData name="Leticia Silva" userId="ae98470f-b13e-4231-82f5-fda0897d4c9b" providerId="ADAL" clId="{C1B26877-EBFA-4931-A53E-EEF465880588}" dt="2023-12-13T09:51:53.368" v="3159"/>
          <ac:spMkLst>
            <pc:docMk/>
            <pc:sldMk cId="1153576615" sldId="2147375801"/>
            <ac:spMk id="135" creationId="{4142561D-B72D-1091-CEF7-2CEBCB0839FB}"/>
          </ac:spMkLst>
        </pc:spChg>
        <pc:spChg chg="mod ord">
          <ac:chgData name="Leticia Silva" userId="ae98470f-b13e-4231-82f5-fda0897d4c9b" providerId="ADAL" clId="{C1B26877-EBFA-4931-A53E-EEF465880588}" dt="2023-12-13T09:51:53.373" v="3171"/>
          <ac:spMkLst>
            <pc:docMk/>
            <pc:sldMk cId="1153576615" sldId="2147375801"/>
            <ac:spMk id="136" creationId="{7E39812D-6864-6917-2461-BF357490F61A}"/>
          </ac:spMkLst>
        </pc:spChg>
        <pc:spChg chg="mod ord">
          <ac:chgData name="Leticia Silva" userId="ae98470f-b13e-4231-82f5-fda0897d4c9b" providerId="ADAL" clId="{C1B26877-EBFA-4931-A53E-EEF465880588}" dt="2023-12-13T09:51:53.371" v="3167"/>
          <ac:spMkLst>
            <pc:docMk/>
            <pc:sldMk cId="1153576615" sldId="2147375801"/>
            <ac:spMk id="137" creationId="{D2B3499E-5C7E-0625-74E4-8332E8D875C0}"/>
          </ac:spMkLst>
        </pc:spChg>
        <pc:spChg chg="mod ord">
          <ac:chgData name="Leticia Silva" userId="ae98470f-b13e-4231-82f5-fda0897d4c9b" providerId="ADAL" clId="{C1B26877-EBFA-4931-A53E-EEF465880588}" dt="2023-12-13T09:51:53.370" v="3165"/>
          <ac:spMkLst>
            <pc:docMk/>
            <pc:sldMk cId="1153576615" sldId="2147375801"/>
            <ac:spMk id="138" creationId="{D8B33271-7859-6513-D4E4-4A51E7DAEA02}"/>
          </ac:spMkLst>
        </pc:spChg>
        <pc:spChg chg="mod ord">
          <ac:chgData name="Leticia Silva" userId="ae98470f-b13e-4231-82f5-fda0897d4c9b" providerId="ADAL" clId="{C1B26877-EBFA-4931-A53E-EEF465880588}" dt="2023-12-13T09:51:53.371" v="3169"/>
          <ac:spMkLst>
            <pc:docMk/>
            <pc:sldMk cId="1153576615" sldId="2147375801"/>
            <ac:spMk id="139" creationId="{3BA9B1C5-B998-75B0-25E9-879971A60F24}"/>
          </ac:spMkLst>
        </pc:spChg>
        <pc:spChg chg="mod ord">
          <ac:chgData name="Leticia Silva" userId="ae98470f-b13e-4231-82f5-fda0897d4c9b" providerId="ADAL" clId="{C1B26877-EBFA-4931-A53E-EEF465880588}" dt="2023-12-13T09:51:53.373" v="3173"/>
          <ac:spMkLst>
            <pc:docMk/>
            <pc:sldMk cId="1153576615" sldId="2147375801"/>
            <ac:spMk id="140" creationId="{4F1F6DFC-459E-7DA4-8445-ACFC1D4C8AFB}"/>
          </ac:spMkLst>
        </pc:spChg>
        <pc:spChg chg="mod ord">
          <ac:chgData name="Leticia Silva" userId="ae98470f-b13e-4231-82f5-fda0897d4c9b" providerId="ADAL" clId="{C1B26877-EBFA-4931-A53E-EEF465880588}" dt="2023-12-13T09:51:53.376" v="3181"/>
          <ac:spMkLst>
            <pc:docMk/>
            <pc:sldMk cId="1153576615" sldId="2147375801"/>
            <ac:spMk id="141" creationId="{1432AAA0-37F5-7CBB-CF47-92B0AAE1C038}"/>
          </ac:spMkLst>
        </pc:spChg>
        <pc:spChg chg="mod ord">
          <ac:chgData name="Leticia Silva" userId="ae98470f-b13e-4231-82f5-fda0897d4c9b" providerId="ADAL" clId="{C1B26877-EBFA-4931-A53E-EEF465880588}" dt="2023-12-13T09:51:53.375" v="3177"/>
          <ac:spMkLst>
            <pc:docMk/>
            <pc:sldMk cId="1153576615" sldId="2147375801"/>
            <ac:spMk id="142" creationId="{2F8E1CC8-956A-0BAF-FAE0-00A2DE5ACF91}"/>
          </ac:spMkLst>
        </pc:spChg>
        <pc:spChg chg="mod ord">
          <ac:chgData name="Leticia Silva" userId="ae98470f-b13e-4231-82f5-fda0897d4c9b" providerId="ADAL" clId="{C1B26877-EBFA-4931-A53E-EEF465880588}" dt="2023-12-13T09:51:53.377" v="3183"/>
          <ac:spMkLst>
            <pc:docMk/>
            <pc:sldMk cId="1153576615" sldId="2147375801"/>
            <ac:spMk id="143" creationId="{B3D00F8A-615F-BA28-8995-473235AEB0C6}"/>
          </ac:spMkLst>
        </pc:spChg>
        <pc:spChg chg="mod ord">
          <ac:chgData name="Leticia Silva" userId="ae98470f-b13e-4231-82f5-fda0897d4c9b" providerId="ADAL" clId="{C1B26877-EBFA-4931-A53E-EEF465880588}" dt="2023-12-13T09:51:53.374" v="3175"/>
          <ac:spMkLst>
            <pc:docMk/>
            <pc:sldMk cId="1153576615" sldId="2147375801"/>
            <ac:spMk id="144" creationId="{E10E3E32-C709-42DF-2945-A78A20B9E03B}"/>
          </ac:spMkLst>
        </pc:spChg>
        <pc:spChg chg="mod ord">
          <ac:chgData name="Leticia Silva" userId="ae98470f-b13e-4231-82f5-fda0897d4c9b" providerId="ADAL" clId="{C1B26877-EBFA-4931-A53E-EEF465880588}" dt="2023-12-13T09:51:53.376" v="3179"/>
          <ac:spMkLst>
            <pc:docMk/>
            <pc:sldMk cId="1153576615" sldId="2147375801"/>
            <ac:spMk id="145" creationId="{DEE057F4-3A1F-D159-299D-8398B072F3B8}"/>
          </ac:spMkLst>
        </pc:spChg>
        <pc:spChg chg="mod ord">
          <ac:chgData name="Leticia Silva" userId="ae98470f-b13e-4231-82f5-fda0897d4c9b" providerId="ADAL" clId="{C1B26877-EBFA-4931-A53E-EEF465880588}" dt="2023-12-13T09:51:53.378" v="3185"/>
          <ac:spMkLst>
            <pc:docMk/>
            <pc:sldMk cId="1153576615" sldId="2147375801"/>
            <ac:spMk id="146" creationId="{B48E0E11-4A98-8749-4BEF-1E94F340E96B}"/>
          </ac:spMkLst>
        </pc:spChg>
        <pc:spChg chg="mod ord">
          <ac:chgData name="Leticia Silva" userId="ae98470f-b13e-4231-82f5-fda0897d4c9b" providerId="ADAL" clId="{C1B26877-EBFA-4931-A53E-EEF465880588}" dt="2023-12-13T09:51:53.379" v="3187"/>
          <ac:spMkLst>
            <pc:docMk/>
            <pc:sldMk cId="1153576615" sldId="2147375801"/>
            <ac:spMk id="147" creationId="{349FAA3B-6A26-6474-E40D-6B8FF5D5635C}"/>
          </ac:spMkLst>
        </pc:spChg>
        <pc:spChg chg="mod ord">
          <ac:chgData name="Leticia Silva" userId="ae98470f-b13e-4231-82f5-fda0897d4c9b" providerId="ADAL" clId="{C1B26877-EBFA-4931-A53E-EEF465880588}" dt="2023-12-13T09:51:53.380" v="3189"/>
          <ac:spMkLst>
            <pc:docMk/>
            <pc:sldMk cId="1153576615" sldId="2147375801"/>
            <ac:spMk id="148" creationId="{5203DDC0-4353-190F-F56F-D0FB67A9D244}"/>
          </ac:spMkLst>
        </pc:spChg>
        <pc:spChg chg="mod ord">
          <ac:chgData name="Leticia Silva" userId="ae98470f-b13e-4231-82f5-fda0897d4c9b" providerId="ADAL" clId="{C1B26877-EBFA-4931-A53E-EEF465880588}" dt="2023-12-13T09:51:53.381" v="3191"/>
          <ac:spMkLst>
            <pc:docMk/>
            <pc:sldMk cId="1153576615" sldId="2147375801"/>
            <ac:spMk id="149" creationId="{6CF3F443-833A-5B83-0B28-AA2F9088BF91}"/>
          </ac:spMkLst>
        </pc:spChg>
        <pc:spChg chg="mod ord">
          <ac:chgData name="Leticia Silva" userId="ae98470f-b13e-4231-82f5-fda0897d4c9b" providerId="ADAL" clId="{C1B26877-EBFA-4931-A53E-EEF465880588}" dt="2023-12-13T09:51:53.381" v="3193"/>
          <ac:spMkLst>
            <pc:docMk/>
            <pc:sldMk cId="1153576615" sldId="2147375801"/>
            <ac:spMk id="150" creationId="{1B9DCB6A-75E3-0963-CF44-398D59CAF688}"/>
          </ac:spMkLst>
        </pc:spChg>
        <pc:spChg chg="mod ord">
          <ac:chgData name="Leticia Silva" userId="ae98470f-b13e-4231-82f5-fda0897d4c9b" providerId="ADAL" clId="{C1B26877-EBFA-4931-A53E-EEF465880588}" dt="2023-12-13T09:51:53.383" v="3199"/>
          <ac:spMkLst>
            <pc:docMk/>
            <pc:sldMk cId="1153576615" sldId="2147375801"/>
            <ac:spMk id="151" creationId="{7FF65685-34EA-F790-AB19-CC0F2139C124}"/>
          </ac:spMkLst>
        </pc:spChg>
        <pc:spChg chg="mod ord">
          <ac:chgData name="Leticia Silva" userId="ae98470f-b13e-4231-82f5-fda0897d4c9b" providerId="ADAL" clId="{C1B26877-EBFA-4931-A53E-EEF465880588}" dt="2023-12-13T09:51:53.382" v="3195"/>
          <ac:spMkLst>
            <pc:docMk/>
            <pc:sldMk cId="1153576615" sldId="2147375801"/>
            <ac:spMk id="152" creationId="{A0CC70A7-4092-EC00-2DA5-47B7FBF6B289}"/>
          </ac:spMkLst>
        </pc:spChg>
        <pc:spChg chg="mod ord">
          <ac:chgData name="Leticia Silva" userId="ae98470f-b13e-4231-82f5-fda0897d4c9b" providerId="ADAL" clId="{C1B26877-EBFA-4931-A53E-EEF465880588}" dt="2023-12-13T09:51:53.383" v="3197"/>
          <ac:spMkLst>
            <pc:docMk/>
            <pc:sldMk cId="1153576615" sldId="2147375801"/>
            <ac:spMk id="153" creationId="{334E83CB-F292-2E46-4D64-40EF3C474D8E}"/>
          </ac:spMkLst>
        </pc:spChg>
        <pc:spChg chg="mod ord">
          <ac:chgData name="Leticia Silva" userId="ae98470f-b13e-4231-82f5-fda0897d4c9b" providerId="ADAL" clId="{C1B26877-EBFA-4931-A53E-EEF465880588}" dt="2023-12-13T09:51:53.384" v="3201"/>
          <ac:spMkLst>
            <pc:docMk/>
            <pc:sldMk cId="1153576615" sldId="2147375801"/>
            <ac:spMk id="154" creationId="{A1003381-0FBB-C41C-B23B-3EB48C716C8B}"/>
          </ac:spMkLst>
        </pc:spChg>
        <pc:spChg chg="mod ord">
          <ac:chgData name="Leticia Silva" userId="ae98470f-b13e-4231-82f5-fda0897d4c9b" providerId="ADAL" clId="{C1B26877-EBFA-4931-A53E-EEF465880588}" dt="2023-12-13T09:51:53.385" v="3203"/>
          <ac:spMkLst>
            <pc:docMk/>
            <pc:sldMk cId="1153576615" sldId="2147375801"/>
            <ac:spMk id="155" creationId="{389CC9FA-C0C6-FC77-7E95-7B1C40D339FA}"/>
          </ac:spMkLst>
        </pc:spChg>
        <pc:spChg chg="mod ord">
          <ac:chgData name="Leticia Silva" userId="ae98470f-b13e-4231-82f5-fda0897d4c9b" providerId="ADAL" clId="{C1B26877-EBFA-4931-A53E-EEF465880588}" dt="2023-12-13T09:51:53.387" v="3207"/>
          <ac:spMkLst>
            <pc:docMk/>
            <pc:sldMk cId="1153576615" sldId="2147375801"/>
            <ac:spMk id="156" creationId="{28F7A878-3788-1264-7064-9FFF1C114C32}"/>
          </ac:spMkLst>
        </pc:spChg>
        <pc:spChg chg="mod ord">
          <ac:chgData name="Leticia Silva" userId="ae98470f-b13e-4231-82f5-fda0897d4c9b" providerId="ADAL" clId="{C1B26877-EBFA-4931-A53E-EEF465880588}" dt="2023-12-13T09:51:53.386" v="3205"/>
          <ac:spMkLst>
            <pc:docMk/>
            <pc:sldMk cId="1153576615" sldId="2147375801"/>
            <ac:spMk id="157" creationId="{9DC6D15E-91DD-D1A5-282D-CC6E6A946EE1}"/>
          </ac:spMkLst>
        </pc:spChg>
        <pc:spChg chg="mod">
          <ac:chgData name="Leticia Silva" userId="ae98470f-b13e-4231-82f5-fda0897d4c9b" providerId="ADAL" clId="{C1B26877-EBFA-4931-A53E-EEF465880588}" dt="2023-12-13T09:51:53.389" v="3211"/>
          <ac:spMkLst>
            <pc:docMk/>
            <pc:sldMk cId="1153576615" sldId="2147375801"/>
            <ac:spMk id="158" creationId="{E3638EAB-B523-9500-7004-E195BD60CBAC}"/>
          </ac:spMkLst>
        </pc:spChg>
        <pc:spChg chg="mod">
          <ac:chgData name="Leticia Silva" userId="ae98470f-b13e-4231-82f5-fda0897d4c9b" providerId="ADAL" clId="{C1B26877-EBFA-4931-A53E-EEF465880588}" dt="2023-12-13T09:51:53.388" v="3210"/>
          <ac:spMkLst>
            <pc:docMk/>
            <pc:sldMk cId="1153576615" sldId="2147375801"/>
            <ac:spMk id="159" creationId="{90DE5764-8CAE-0956-E899-053828BC1968}"/>
          </ac:spMkLst>
        </pc:spChg>
        <pc:spChg chg="mod">
          <ac:chgData name="Leticia Silva" userId="ae98470f-b13e-4231-82f5-fda0897d4c9b" providerId="ADAL" clId="{C1B26877-EBFA-4931-A53E-EEF465880588}" dt="2023-12-13T09:51:53.388" v="3209"/>
          <ac:spMkLst>
            <pc:docMk/>
            <pc:sldMk cId="1153576615" sldId="2147375801"/>
            <ac:spMk id="160" creationId="{4F43C02C-3CC4-2D7A-2DA3-879F09B90914}"/>
          </ac:spMkLst>
        </pc:spChg>
        <pc:spChg chg="mod">
          <ac:chgData name="Leticia Silva" userId="ae98470f-b13e-4231-82f5-fda0897d4c9b" providerId="ADAL" clId="{C1B26877-EBFA-4931-A53E-EEF465880588}" dt="2023-12-13T09:51:53.387" v="3208"/>
          <ac:spMkLst>
            <pc:docMk/>
            <pc:sldMk cId="1153576615" sldId="2147375801"/>
            <ac:spMk id="161" creationId="{0A26A93A-EEF4-CEB2-F154-1403EFD54A15}"/>
          </ac:spMkLst>
        </pc:spChg>
        <pc:spChg chg="mod ord">
          <ac:chgData name="Leticia Silva" userId="ae98470f-b13e-4231-82f5-fda0897d4c9b" providerId="ADAL" clId="{C1B26877-EBFA-4931-A53E-EEF465880588}" dt="2023-12-13T09:51:53.389" v="3213"/>
          <ac:spMkLst>
            <pc:docMk/>
            <pc:sldMk cId="1153576615" sldId="2147375801"/>
            <ac:spMk id="162" creationId="{0AC69BE5-024B-4434-2281-69F0DC001A8C}"/>
          </ac:spMkLst>
        </pc:spChg>
        <pc:spChg chg="mod ord">
          <ac:chgData name="Leticia Silva" userId="ae98470f-b13e-4231-82f5-fda0897d4c9b" providerId="ADAL" clId="{C1B26877-EBFA-4931-A53E-EEF465880588}" dt="2023-12-13T09:51:53.390" v="3215"/>
          <ac:spMkLst>
            <pc:docMk/>
            <pc:sldMk cId="1153576615" sldId="2147375801"/>
            <ac:spMk id="163" creationId="{F83672C5-2BFB-6ABE-77E4-1916FD132BC5}"/>
          </ac:spMkLst>
        </pc:spChg>
        <pc:spChg chg="mod ord">
          <ac:chgData name="Leticia Silva" userId="ae98470f-b13e-4231-82f5-fda0897d4c9b" providerId="ADAL" clId="{C1B26877-EBFA-4931-A53E-EEF465880588}" dt="2023-12-13T09:51:53.392" v="3219"/>
          <ac:spMkLst>
            <pc:docMk/>
            <pc:sldMk cId="1153576615" sldId="2147375801"/>
            <ac:spMk id="164" creationId="{A32F3C98-7CE1-3AD5-0520-90C2CB397BB3}"/>
          </ac:spMkLst>
        </pc:spChg>
        <pc:spChg chg="mod ord">
          <ac:chgData name="Leticia Silva" userId="ae98470f-b13e-4231-82f5-fda0897d4c9b" providerId="ADAL" clId="{C1B26877-EBFA-4931-A53E-EEF465880588}" dt="2023-12-13T09:51:53.393" v="3221"/>
          <ac:spMkLst>
            <pc:docMk/>
            <pc:sldMk cId="1153576615" sldId="2147375801"/>
            <ac:spMk id="166" creationId="{E4E19E28-1B3D-6EEF-A381-CE4A2820EB41}"/>
          </ac:spMkLst>
        </pc:spChg>
        <pc:spChg chg="mod ord">
          <ac:chgData name="Leticia Silva" userId="ae98470f-b13e-4231-82f5-fda0897d4c9b" providerId="ADAL" clId="{C1B26877-EBFA-4931-A53E-EEF465880588}" dt="2023-12-13T09:51:53.393" v="3223"/>
          <ac:spMkLst>
            <pc:docMk/>
            <pc:sldMk cId="1153576615" sldId="2147375801"/>
            <ac:spMk id="167" creationId="{7E0D6B80-0463-733D-921F-12B6CF781963}"/>
          </ac:spMkLst>
        </pc:spChg>
        <pc:spChg chg="mod ord">
          <ac:chgData name="Leticia Silva" userId="ae98470f-b13e-4231-82f5-fda0897d4c9b" providerId="ADAL" clId="{C1B26877-EBFA-4931-A53E-EEF465880588}" dt="2023-12-13T09:51:53.394" v="3225"/>
          <ac:spMkLst>
            <pc:docMk/>
            <pc:sldMk cId="1153576615" sldId="2147375801"/>
            <ac:spMk id="168" creationId="{09FB6A66-D9BA-AA29-6388-B9403AC31515}"/>
          </ac:spMkLst>
        </pc:spChg>
        <pc:spChg chg="mod ord">
          <ac:chgData name="Leticia Silva" userId="ae98470f-b13e-4231-82f5-fda0897d4c9b" providerId="ADAL" clId="{C1B26877-EBFA-4931-A53E-EEF465880588}" dt="2023-12-13T09:51:53.395" v="3227"/>
          <ac:spMkLst>
            <pc:docMk/>
            <pc:sldMk cId="1153576615" sldId="2147375801"/>
            <ac:spMk id="169" creationId="{9544B3CF-0D35-A3FE-3D40-1A03C5D80A14}"/>
          </ac:spMkLst>
        </pc:spChg>
        <pc:spChg chg="mod ord">
          <ac:chgData name="Leticia Silva" userId="ae98470f-b13e-4231-82f5-fda0897d4c9b" providerId="ADAL" clId="{C1B26877-EBFA-4931-A53E-EEF465880588}" dt="2023-12-13T09:51:53.396" v="3229"/>
          <ac:spMkLst>
            <pc:docMk/>
            <pc:sldMk cId="1153576615" sldId="2147375801"/>
            <ac:spMk id="170" creationId="{6B7D2B51-8B48-9FE9-574E-E805AFD6FEBD}"/>
          </ac:spMkLst>
        </pc:spChg>
        <pc:spChg chg="mod ord">
          <ac:chgData name="Leticia Silva" userId="ae98470f-b13e-4231-82f5-fda0897d4c9b" providerId="ADAL" clId="{C1B26877-EBFA-4931-A53E-EEF465880588}" dt="2023-12-13T09:51:53.397" v="3233"/>
          <ac:spMkLst>
            <pc:docMk/>
            <pc:sldMk cId="1153576615" sldId="2147375801"/>
            <ac:spMk id="171" creationId="{E474789B-60E3-3662-3F53-604A562BCAD6}"/>
          </ac:spMkLst>
        </pc:spChg>
        <pc:spChg chg="mod ord">
          <ac:chgData name="Leticia Silva" userId="ae98470f-b13e-4231-82f5-fda0897d4c9b" providerId="ADAL" clId="{C1B26877-EBFA-4931-A53E-EEF465880588}" dt="2023-12-13T09:51:53.396" v="3231"/>
          <ac:spMkLst>
            <pc:docMk/>
            <pc:sldMk cId="1153576615" sldId="2147375801"/>
            <ac:spMk id="172" creationId="{AAA546B4-9B07-84AA-5FEA-82E42E63D84E}"/>
          </ac:spMkLst>
        </pc:spChg>
        <pc:spChg chg="mod ord">
          <ac:chgData name="Leticia Silva" userId="ae98470f-b13e-4231-82f5-fda0897d4c9b" providerId="ADAL" clId="{C1B26877-EBFA-4931-A53E-EEF465880588}" dt="2023-12-13T09:51:53.398" v="3235"/>
          <ac:spMkLst>
            <pc:docMk/>
            <pc:sldMk cId="1153576615" sldId="2147375801"/>
            <ac:spMk id="173" creationId="{F4AEE105-9B71-0CB1-831A-1EDB89A83E85}"/>
          </ac:spMkLst>
        </pc:spChg>
        <pc:spChg chg="mod ord">
          <ac:chgData name="Leticia Silva" userId="ae98470f-b13e-4231-82f5-fda0897d4c9b" providerId="ADAL" clId="{C1B26877-EBFA-4931-A53E-EEF465880588}" dt="2023-12-13T09:51:53.401" v="3243"/>
          <ac:spMkLst>
            <pc:docMk/>
            <pc:sldMk cId="1153576615" sldId="2147375801"/>
            <ac:spMk id="174" creationId="{9FC3E839-21E3-88BF-6C37-F52BEDD17A3B}"/>
          </ac:spMkLst>
        </pc:spChg>
        <pc:spChg chg="mod ord">
          <ac:chgData name="Leticia Silva" userId="ae98470f-b13e-4231-82f5-fda0897d4c9b" providerId="ADAL" clId="{C1B26877-EBFA-4931-A53E-EEF465880588}" dt="2023-12-13T09:51:53.400" v="3241"/>
          <ac:spMkLst>
            <pc:docMk/>
            <pc:sldMk cId="1153576615" sldId="2147375801"/>
            <ac:spMk id="175" creationId="{92744EA8-F595-691D-D02A-2B5D0D535903}"/>
          </ac:spMkLst>
        </pc:spChg>
        <pc:spChg chg="mod ord">
          <ac:chgData name="Leticia Silva" userId="ae98470f-b13e-4231-82f5-fda0897d4c9b" providerId="ADAL" clId="{C1B26877-EBFA-4931-A53E-EEF465880588}" dt="2023-12-13T09:51:53.399" v="3237"/>
          <ac:spMkLst>
            <pc:docMk/>
            <pc:sldMk cId="1153576615" sldId="2147375801"/>
            <ac:spMk id="176" creationId="{CB7C49BD-4ABE-752E-2ED9-1D952798A2B6}"/>
          </ac:spMkLst>
        </pc:spChg>
        <pc:spChg chg="mod ord">
          <ac:chgData name="Leticia Silva" userId="ae98470f-b13e-4231-82f5-fda0897d4c9b" providerId="ADAL" clId="{C1B26877-EBFA-4931-A53E-EEF465880588}" dt="2023-12-13T09:51:53.400" v="3239"/>
          <ac:spMkLst>
            <pc:docMk/>
            <pc:sldMk cId="1153576615" sldId="2147375801"/>
            <ac:spMk id="177" creationId="{479DB760-DAEC-1BDA-C733-E31B38BC2766}"/>
          </ac:spMkLst>
        </pc:spChg>
        <pc:spChg chg="mod">
          <ac:chgData name="Leticia Silva" userId="ae98470f-b13e-4231-82f5-fda0897d4c9b" providerId="ADAL" clId="{C1B26877-EBFA-4931-A53E-EEF465880588}" dt="2023-12-13T09:51:59.893" v="3390"/>
          <ac:spMkLst>
            <pc:docMk/>
            <pc:sldMk cId="1153576615" sldId="2147375801"/>
            <ac:spMk id="183" creationId="{9A9BAA1F-09D7-8B1E-B1C5-8DEBF668C775}"/>
          </ac:spMkLst>
        </pc:spChg>
        <pc:spChg chg="mod">
          <ac:chgData name="Leticia Silva" userId="ae98470f-b13e-4231-82f5-fda0897d4c9b" providerId="ADAL" clId="{C1B26877-EBFA-4931-A53E-EEF465880588}" dt="2023-12-13T09:51:59.894" v="3391"/>
          <ac:spMkLst>
            <pc:docMk/>
            <pc:sldMk cId="1153576615" sldId="2147375801"/>
            <ac:spMk id="184" creationId="{F2104CF6-917A-3790-F6A4-8B782ABB8B05}"/>
          </ac:spMkLst>
        </pc:spChg>
        <pc:spChg chg="mod ord">
          <ac:chgData name="Leticia Silva" userId="ae98470f-b13e-4231-82f5-fda0897d4c9b" providerId="ADAL" clId="{C1B26877-EBFA-4931-A53E-EEF465880588}" dt="2023-12-13T09:51:59.911" v="3409" actId="948"/>
          <ac:spMkLst>
            <pc:docMk/>
            <pc:sldMk cId="1153576615" sldId="2147375801"/>
            <ac:spMk id="185" creationId="{884C5348-C0BA-0E7E-71BE-DE93859ADEA4}"/>
          </ac:spMkLst>
        </pc:spChg>
        <pc:spChg chg="mod">
          <ac:chgData name="Leticia Silva" userId="ae98470f-b13e-4231-82f5-fda0897d4c9b" providerId="ADAL" clId="{C1B26877-EBFA-4931-A53E-EEF465880588}" dt="2023-12-13T09:51:59.882" v="3376"/>
          <ac:spMkLst>
            <pc:docMk/>
            <pc:sldMk cId="1153576615" sldId="2147375801"/>
            <ac:spMk id="186" creationId="{C02ED413-D73D-078C-C2D9-00BD92DF0B2A}"/>
          </ac:spMkLst>
        </pc:spChg>
        <pc:spChg chg="mod">
          <ac:chgData name="Leticia Silva" userId="ae98470f-b13e-4231-82f5-fda0897d4c9b" providerId="ADAL" clId="{C1B26877-EBFA-4931-A53E-EEF465880588}" dt="2023-12-13T09:51:59.883" v="3377"/>
          <ac:spMkLst>
            <pc:docMk/>
            <pc:sldMk cId="1153576615" sldId="2147375801"/>
            <ac:spMk id="187" creationId="{D21FB80C-5AD7-9078-4926-B81CDC480187}"/>
          </ac:spMkLst>
        </pc:spChg>
        <pc:spChg chg="mod">
          <ac:chgData name="Leticia Silva" userId="ae98470f-b13e-4231-82f5-fda0897d4c9b" providerId="ADAL" clId="{C1B26877-EBFA-4931-A53E-EEF465880588}" dt="2023-12-13T09:51:59.892" v="3389"/>
          <ac:spMkLst>
            <pc:docMk/>
            <pc:sldMk cId="1153576615" sldId="2147375801"/>
            <ac:spMk id="188" creationId="{97DE0388-736F-CBBC-257B-1FDC16371A7D}"/>
          </ac:spMkLst>
        </pc:spChg>
        <pc:spChg chg="mod ord">
          <ac:chgData name="Leticia Silva" userId="ae98470f-b13e-4231-82f5-fda0897d4c9b" providerId="ADAL" clId="{C1B26877-EBFA-4931-A53E-EEF465880588}" dt="2023-12-13T09:51:59.912" v="3410" actId="948"/>
          <ac:spMkLst>
            <pc:docMk/>
            <pc:sldMk cId="1153576615" sldId="2147375801"/>
            <ac:spMk id="189" creationId="{035EB6C1-6AB4-1702-B7AF-330E6F55C49B}"/>
          </ac:spMkLst>
        </pc:spChg>
        <pc:spChg chg="mod">
          <ac:chgData name="Leticia Silva" userId="ae98470f-b13e-4231-82f5-fda0897d4c9b" providerId="ADAL" clId="{C1B26877-EBFA-4931-A53E-EEF465880588}" dt="2023-12-13T09:51:59.892" v="3388"/>
          <ac:spMkLst>
            <pc:docMk/>
            <pc:sldMk cId="1153576615" sldId="2147375801"/>
            <ac:spMk id="190" creationId="{51FA6609-19DE-1228-FD6B-EE84C0678B7A}"/>
          </ac:spMkLst>
        </pc:spChg>
        <pc:spChg chg="mod ord">
          <ac:chgData name="Leticia Silva" userId="ae98470f-b13e-4231-82f5-fda0897d4c9b" providerId="ADAL" clId="{C1B26877-EBFA-4931-A53E-EEF465880588}" dt="2023-12-13T09:51:59.922" v="3423" actId="948"/>
          <ac:spMkLst>
            <pc:docMk/>
            <pc:sldMk cId="1153576615" sldId="2147375801"/>
            <ac:spMk id="191" creationId="{C4C8E55C-E0BA-35C8-2092-6BA71F140229}"/>
          </ac:spMkLst>
        </pc:spChg>
        <pc:spChg chg="mod">
          <ac:chgData name="Leticia Silva" userId="ae98470f-b13e-4231-82f5-fda0897d4c9b" providerId="ADAL" clId="{C1B26877-EBFA-4931-A53E-EEF465880588}" dt="2023-12-13T09:51:59.883" v="3378"/>
          <ac:spMkLst>
            <pc:docMk/>
            <pc:sldMk cId="1153576615" sldId="2147375801"/>
            <ac:spMk id="192" creationId="{0627B7B6-BB7C-81FB-6E6C-6FFF10135AE7}"/>
          </ac:spMkLst>
        </pc:spChg>
        <pc:spChg chg="mod">
          <ac:chgData name="Leticia Silva" userId="ae98470f-b13e-4231-82f5-fda0897d4c9b" providerId="ADAL" clId="{C1B26877-EBFA-4931-A53E-EEF465880588}" dt="2023-12-13T09:51:59.884" v="3379"/>
          <ac:spMkLst>
            <pc:docMk/>
            <pc:sldMk cId="1153576615" sldId="2147375801"/>
            <ac:spMk id="193" creationId="{4598ACE7-E4E8-C946-66FB-465A8A425F05}"/>
          </ac:spMkLst>
        </pc:spChg>
        <pc:spChg chg="mod ord">
          <ac:chgData name="Leticia Silva" userId="ae98470f-b13e-4231-82f5-fda0897d4c9b" providerId="ADAL" clId="{C1B26877-EBFA-4931-A53E-EEF465880588}" dt="2023-12-13T09:51:59.915" v="3413" actId="948"/>
          <ac:spMkLst>
            <pc:docMk/>
            <pc:sldMk cId="1153576615" sldId="2147375801"/>
            <ac:spMk id="194" creationId="{ACE3B69E-3DE9-CDF2-958F-770A00666A54}"/>
          </ac:spMkLst>
        </pc:spChg>
        <pc:spChg chg="mod ord">
          <ac:chgData name="Leticia Silva" userId="ae98470f-b13e-4231-82f5-fda0897d4c9b" providerId="ADAL" clId="{C1B26877-EBFA-4931-A53E-EEF465880588}" dt="2023-12-13T09:51:59.916" v="3414" actId="948"/>
          <ac:spMkLst>
            <pc:docMk/>
            <pc:sldMk cId="1153576615" sldId="2147375801"/>
            <ac:spMk id="195" creationId="{06B387D1-3A97-B219-3F48-927C5D2A1ADF}"/>
          </ac:spMkLst>
        </pc:spChg>
        <pc:spChg chg="mod ord">
          <ac:chgData name="Leticia Silva" userId="ae98470f-b13e-4231-82f5-fda0897d4c9b" providerId="ADAL" clId="{C1B26877-EBFA-4931-A53E-EEF465880588}" dt="2023-12-13T09:51:59.911" v="3408" actId="948"/>
          <ac:spMkLst>
            <pc:docMk/>
            <pc:sldMk cId="1153576615" sldId="2147375801"/>
            <ac:spMk id="196" creationId="{51C43697-72F2-C1F4-ABE8-F94FC6487388}"/>
          </ac:spMkLst>
        </pc:spChg>
        <pc:spChg chg="mod ord">
          <ac:chgData name="Leticia Silva" userId="ae98470f-b13e-4231-82f5-fda0897d4c9b" providerId="ADAL" clId="{C1B26877-EBFA-4931-A53E-EEF465880588}" dt="2023-12-13T09:51:59.916" v="3415" actId="948"/>
          <ac:spMkLst>
            <pc:docMk/>
            <pc:sldMk cId="1153576615" sldId="2147375801"/>
            <ac:spMk id="197" creationId="{A784FDA2-C8C4-895A-B9AF-D100D475D14F}"/>
          </ac:spMkLst>
        </pc:spChg>
        <pc:spChg chg="mod ord">
          <ac:chgData name="Leticia Silva" userId="ae98470f-b13e-4231-82f5-fda0897d4c9b" providerId="ADAL" clId="{C1B26877-EBFA-4931-A53E-EEF465880588}" dt="2023-12-13T09:51:59.917" v="3416" actId="948"/>
          <ac:spMkLst>
            <pc:docMk/>
            <pc:sldMk cId="1153576615" sldId="2147375801"/>
            <ac:spMk id="198" creationId="{2BCE3631-1361-98FD-A51E-07F966FF261B}"/>
          </ac:spMkLst>
        </pc:spChg>
        <pc:spChg chg="mod ord">
          <ac:chgData name="Leticia Silva" userId="ae98470f-b13e-4231-82f5-fda0897d4c9b" providerId="ADAL" clId="{C1B26877-EBFA-4931-A53E-EEF465880588}" dt="2023-12-13T09:51:59.913" v="3411" actId="948"/>
          <ac:spMkLst>
            <pc:docMk/>
            <pc:sldMk cId="1153576615" sldId="2147375801"/>
            <ac:spMk id="199" creationId="{2C8608AF-7A34-9CCB-03CF-6D48C9D9C635}"/>
          </ac:spMkLst>
        </pc:spChg>
        <pc:spChg chg="mod ord">
          <ac:chgData name="Leticia Silva" userId="ae98470f-b13e-4231-82f5-fda0897d4c9b" providerId="ADAL" clId="{C1B26877-EBFA-4931-A53E-EEF465880588}" dt="2023-12-13T09:51:59.914" v="3412" actId="948"/>
          <ac:spMkLst>
            <pc:docMk/>
            <pc:sldMk cId="1153576615" sldId="2147375801"/>
            <ac:spMk id="200" creationId="{FB0A17AC-9CAF-81D0-4776-C6F21AFDD656}"/>
          </ac:spMkLst>
        </pc:spChg>
        <pc:spChg chg="mod">
          <ac:chgData name="Leticia Silva" userId="ae98470f-b13e-4231-82f5-fda0897d4c9b" providerId="ADAL" clId="{C1B26877-EBFA-4931-A53E-EEF465880588}" dt="2023-12-13T09:51:59.886" v="3380"/>
          <ac:spMkLst>
            <pc:docMk/>
            <pc:sldMk cId="1153576615" sldId="2147375801"/>
            <ac:spMk id="201" creationId="{70AE1997-CEFA-0550-09B2-AC30B60C99BB}"/>
          </ac:spMkLst>
        </pc:spChg>
        <pc:spChg chg="mod">
          <ac:chgData name="Leticia Silva" userId="ae98470f-b13e-4231-82f5-fda0897d4c9b" providerId="ADAL" clId="{C1B26877-EBFA-4931-A53E-EEF465880588}" dt="2023-12-13T09:51:59.886" v="3381"/>
          <ac:spMkLst>
            <pc:docMk/>
            <pc:sldMk cId="1153576615" sldId="2147375801"/>
            <ac:spMk id="202" creationId="{441CDD02-7FF6-4D52-4E60-FE9D1E60F9E8}"/>
          </ac:spMkLst>
        </pc:spChg>
        <pc:spChg chg="mod ord">
          <ac:chgData name="Leticia Silva" userId="ae98470f-b13e-4231-82f5-fda0897d4c9b" providerId="ADAL" clId="{C1B26877-EBFA-4931-A53E-EEF465880588}" dt="2023-12-13T09:51:59.918" v="3417" actId="948"/>
          <ac:spMkLst>
            <pc:docMk/>
            <pc:sldMk cId="1153576615" sldId="2147375801"/>
            <ac:spMk id="203" creationId="{629C854D-0B31-D4C4-452B-089A7007C9AD}"/>
          </ac:spMkLst>
        </pc:spChg>
        <pc:spChg chg="mod ord">
          <ac:chgData name="Leticia Silva" userId="ae98470f-b13e-4231-82f5-fda0897d4c9b" providerId="ADAL" clId="{C1B26877-EBFA-4931-A53E-EEF465880588}" dt="2023-12-13T09:51:59.910" v="3407" actId="948"/>
          <ac:spMkLst>
            <pc:docMk/>
            <pc:sldMk cId="1153576615" sldId="2147375801"/>
            <ac:spMk id="204" creationId="{EDEF86AF-0172-CF69-A7A5-7C3A847A440A}"/>
          </ac:spMkLst>
        </pc:spChg>
        <pc:spChg chg="mod ord">
          <ac:chgData name="Leticia Silva" userId="ae98470f-b13e-4231-82f5-fda0897d4c9b" providerId="ADAL" clId="{C1B26877-EBFA-4931-A53E-EEF465880588}" dt="2023-12-13T09:51:59.919" v="3418" actId="948"/>
          <ac:spMkLst>
            <pc:docMk/>
            <pc:sldMk cId="1153576615" sldId="2147375801"/>
            <ac:spMk id="205" creationId="{85681A62-662B-7928-3D27-1F9E4F39041C}"/>
          </ac:spMkLst>
        </pc:spChg>
        <pc:spChg chg="mod">
          <ac:chgData name="Leticia Silva" userId="ae98470f-b13e-4231-82f5-fda0897d4c9b" providerId="ADAL" clId="{C1B26877-EBFA-4931-A53E-EEF465880588}" dt="2023-12-13T09:51:59.902" v="3399"/>
          <ac:spMkLst>
            <pc:docMk/>
            <pc:sldMk cId="1153576615" sldId="2147375801"/>
            <ac:spMk id="206" creationId="{2B79506E-A8E7-FBD6-A537-ABF52EB1D5F2}"/>
          </ac:spMkLst>
        </pc:spChg>
        <pc:spChg chg="mod">
          <ac:chgData name="Leticia Silva" userId="ae98470f-b13e-4231-82f5-fda0897d4c9b" providerId="ADAL" clId="{C1B26877-EBFA-4931-A53E-EEF465880588}" dt="2023-12-13T09:51:59.904" v="3400"/>
          <ac:spMkLst>
            <pc:docMk/>
            <pc:sldMk cId="1153576615" sldId="2147375801"/>
            <ac:spMk id="207" creationId="{3097D361-17F4-7D66-C491-B7628D2B1622}"/>
          </ac:spMkLst>
        </pc:spChg>
        <pc:spChg chg="mod">
          <ac:chgData name="Leticia Silva" userId="ae98470f-b13e-4231-82f5-fda0897d4c9b" providerId="ADAL" clId="{C1B26877-EBFA-4931-A53E-EEF465880588}" dt="2023-12-13T09:51:59.877" v="3372"/>
          <ac:spMkLst>
            <pc:docMk/>
            <pc:sldMk cId="1153576615" sldId="2147375801"/>
            <ac:spMk id="208" creationId="{1AA41FED-03C5-BC83-D312-32674460613E}"/>
          </ac:spMkLst>
        </pc:spChg>
        <pc:spChg chg="mod">
          <ac:chgData name="Leticia Silva" userId="ae98470f-b13e-4231-82f5-fda0897d4c9b" providerId="ADAL" clId="{C1B26877-EBFA-4931-A53E-EEF465880588}" dt="2023-12-13T09:51:59.887" v="3382"/>
          <ac:spMkLst>
            <pc:docMk/>
            <pc:sldMk cId="1153576615" sldId="2147375801"/>
            <ac:spMk id="209" creationId="{88D7C035-6697-6B57-302F-DD1DE4C2CCED}"/>
          </ac:spMkLst>
        </pc:spChg>
        <pc:spChg chg="mod">
          <ac:chgData name="Leticia Silva" userId="ae98470f-b13e-4231-82f5-fda0897d4c9b" providerId="ADAL" clId="{C1B26877-EBFA-4931-A53E-EEF465880588}" dt="2023-12-13T09:51:59.888" v="3383"/>
          <ac:spMkLst>
            <pc:docMk/>
            <pc:sldMk cId="1153576615" sldId="2147375801"/>
            <ac:spMk id="210" creationId="{E3A33267-C59E-A49C-FF23-016C73D2BED7}"/>
          </ac:spMkLst>
        </pc:spChg>
        <pc:spChg chg="mod">
          <ac:chgData name="Leticia Silva" userId="ae98470f-b13e-4231-82f5-fda0897d4c9b" providerId="ADAL" clId="{C1B26877-EBFA-4931-A53E-EEF465880588}" dt="2023-12-13T09:51:59.898" v="3393"/>
          <ac:spMkLst>
            <pc:docMk/>
            <pc:sldMk cId="1153576615" sldId="2147375801"/>
            <ac:spMk id="211" creationId="{F15E9EEF-0633-10F9-4247-238B0C3EC814}"/>
          </ac:spMkLst>
        </pc:spChg>
        <pc:spChg chg="mod">
          <ac:chgData name="Leticia Silva" userId="ae98470f-b13e-4231-82f5-fda0897d4c9b" providerId="ADAL" clId="{C1B26877-EBFA-4931-A53E-EEF465880588}" dt="2023-12-13T09:51:59.898" v="3394"/>
          <ac:spMkLst>
            <pc:docMk/>
            <pc:sldMk cId="1153576615" sldId="2147375801"/>
            <ac:spMk id="212" creationId="{75FFA771-5672-4EDD-86DB-1B3D70C6F7C3}"/>
          </ac:spMkLst>
        </pc:spChg>
        <pc:spChg chg="mod ord">
          <ac:chgData name="Leticia Silva" userId="ae98470f-b13e-4231-82f5-fda0897d4c9b" providerId="ADAL" clId="{C1B26877-EBFA-4931-A53E-EEF465880588}" dt="2023-12-13T09:51:59.908" v="3405" actId="948"/>
          <ac:spMkLst>
            <pc:docMk/>
            <pc:sldMk cId="1153576615" sldId="2147375801"/>
            <ac:spMk id="213" creationId="{096B65FE-535D-F854-B06F-15F002AD215E}"/>
          </ac:spMkLst>
        </pc:spChg>
        <pc:spChg chg="mod">
          <ac:chgData name="Leticia Silva" userId="ae98470f-b13e-4231-82f5-fda0897d4c9b" providerId="ADAL" clId="{C1B26877-EBFA-4931-A53E-EEF465880588}" dt="2023-12-13T09:51:59.881" v="3375"/>
          <ac:spMkLst>
            <pc:docMk/>
            <pc:sldMk cId="1153576615" sldId="2147375801"/>
            <ac:spMk id="214" creationId="{C6644BF3-FEF7-1F40-4852-D5F5CACFFBBD}"/>
          </ac:spMkLst>
        </pc:spChg>
        <pc:spChg chg="mod">
          <ac:chgData name="Leticia Silva" userId="ae98470f-b13e-4231-82f5-fda0897d4c9b" providerId="ADAL" clId="{C1B26877-EBFA-4931-A53E-EEF465880588}" dt="2023-12-13T09:51:59.889" v="3384"/>
          <ac:spMkLst>
            <pc:docMk/>
            <pc:sldMk cId="1153576615" sldId="2147375801"/>
            <ac:spMk id="215" creationId="{036710C5-7AFD-D9FD-3415-6C5B5857493D}"/>
          </ac:spMkLst>
        </pc:spChg>
        <pc:spChg chg="mod">
          <ac:chgData name="Leticia Silva" userId="ae98470f-b13e-4231-82f5-fda0897d4c9b" providerId="ADAL" clId="{C1B26877-EBFA-4931-A53E-EEF465880588}" dt="2023-12-13T09:51:59.889" v="3385"/>
          <ac:spMkLst>
            <pc:docMk/>
            <pc:sldMk cId="1153576615" sldId="2147375801"/>
            <ac:spMk id="216" creationId="{E8379A6A-EC3B-5D77-DFDC-9CE9117ECF9C}"/>
          </ac:spMkLst>
        </pc:spChg>
        <pc:spChg chg="mod">
          <ac:chgData name="Leticia Silva" userId="ae98470f-b13e-4231-82f5-fda0897d4c9b" providerId="ADAL" clId="{C1B26877-EBFA-4931-A53E-EEF465880588}" dt="2023-12-13T09:51:59.880" v="3374"/>
          <ac:spMkLst>
            <pc:docMk/>
            <pc:sldMk cId="1153576615" sldId="2147375801"/>
            <ac:spMk id="217" creationId="{6761600B-1A54-7531-364B-B8CE8C5A35B2}"/>
          </ac:spMkLst>
        </pc:spChg>
        <pc:spChg chg="mod">
          <ac:chgData name="Leticia Silva" userId="ae98470f-b13e-4231-82f5-fda0897d4c9b" providerId="ADAL" clId="{C1B26877-EBFA-4931-A53E-EEF465880588}" dt="2023-12-13T09:51:59.949" v="3433"/>
          <ac:spMkLst>
            <pc:docMk/>
            <pc:sldMk cId="1153576615" sldId="2147375801"/>
            <ac:spMk id="218" creationId="{C1E93EA5-D967-8B4C-9762-07C5172A76A0}"/>
          </ac:spMkLst>
        </pc:spChg>
        <pc:spChg chg="mod ord">
          <ac:chgData name="Leticia Silva" userId="ae98470f-b13e-4231-82f5-fda0897d4c9b" providerId="ADAL" clId="{C1B26877-EBFA-4931-A53E-EEF465880588}" dt="2023-12-13T09:51:59.907" v="3404" actId="948"/>
          <ac:spMkLst>
            <pc:docMk/>
            <pc:sldMk cId="1153576615" sldId="2147375801"/>
            <ac:spMk id="219" creationId="{FDAC1C35-78B8-2D7D-E6EE-ADB1D9D1935D}"/>
          </ac:spMkLst>
        </pc:spChg>
        <pc:spChg chg="mod ord">
          <ac:chgData name="Leticia Silva" userId="ae98470f-b13e-4231-82f5-fda0897d4c9b" providerId="ADAL" clId="{C1B26877-EBFA-4931-A53E-EEF465880588}" dt="2023-12-13T09:51:59.909" v="3406" actId="948"/>
          <ac:spMkLst>
            <pc:docMk/>
            <pc:sldMk cId="1153576615" sldId="2147375801"/>
            <ac:spMk id="220" creationId="{1833FF99-8D2D-786C-7715-F944B5256C56}"/>
          </ac:spMkLst>
        </pc:spChg>
        <pc:spChg chg="mod ord">
          <ac:chgData name="Leticia Silva" userId="ae98470f-b13e-4231-82f5-fda0897d4c9b" providerId="ADAL" clId="{C1B26877-EBFA-4931-A53E-EEF465880588}" dt="2023-12-13T09:51:59.907" v="3403" actId="948"/>
          <ac:spMkLst>
            <pc:docMk/>
            <pc:sldMk cId="1153576615" sldId="2147375801"/>
            <ac:spMk id="221" creationId="{93AF85C3-9FD6-C93B-4B17-E9261A3279A7}"/>
          </ac:spMkLst>
        </pc:spChg>
        <pc:spChg chg="mod ord">
          <ac:chgData name="Leticia Silva" userId="ae98470f-b13e-4231-82f5-fda0897d4c9b" providerId="ADAL" clId="{C1B26877-EBFA-4931-A53E-EEF465880588}" dt="2023-12-13T09:51:59.920" v="3419" actId="948"/>
          <ac:spMkLst>
            <pc:docMk/>
            <pc:sldMk cId="1153576615" sldId="2147375801"/>
            <ac:spMk id="222" creationId="{4A1C5338-4711-3890-87DE-70F02EB0FC19}"/>
          </ac:spMkLst>
        </pc:spChg>
        <pc:spChg chg="mod">
          <ac:chgData name="Leticia Silva" userId="ae98470f-b13e-4231-82f5-fda0897d4c9b" providerId="ADAL" clId="{C1B26877-EBFA-4931-A53E-EEF465880588}" dt="2023-12-13T09:51:59.899" v="3395"/>
          <ac:spMkLst>
            <pc:docMk/>
            <pc:sldMk cId="1153576615" sldId="2147375801"/>
            <ac:spMk id="223" creationId="{61110FBE-D1EA-21C7-FCC4-EECDF965F845}"/>
          </ac:spMkLst>
        </pc:spChg>
        <pc:spChg chg="mod ord">
          <ac:chgData name="Leticia Silva" userId="ae98470f-b13e-4231-82f5-fda0897d4c9b" providerId="ADAL" clId="{C1B26877-EBFA-4931-A53E-EEF465880588}" dt="2023-12-13T09:51:59.920" v="3420" actId="948"/>
          <ac:spMkLst>
            <pc:docMk/>
            <pc:sldMk cId="1153576615" sldId="2147375801"/>
            <ac:spMk id="224" creationId="{9BD22188-5E0C-6FE8-CB73-C150AD198E64}"/>
          </ac:spMkLst>
        </pc:spChg>
        <pc:spChg chg="mod ord">
          <ac:chgData name="Leticia Silva" userId="ae98470f-b13e-4231-82f5-fda0897d4c9b" providerId="ADAL" clId="{C1B26877-EBFA-4931-A53E-EEF465880588}" dt="2023-12-13T09:51:59.906" v="3402" actId="948"/>
          <ac:spMkLst>
            <pc:docMk/>
            <pc:sldMk cId="1153576615" sldId="2147375801"/>
            <ac:spMk id="225" creationId="{B5D40066-A437-650A-8418-6A64230EBE39}"/>
          </ac:spMkLst>
        </pc:spChg>
        <pc:spChg chg="mod ord">
          <ac:chgData name="Leticia Silva" userId="ae98470f-b13e-4231-82f5-fda0897d4c9b" providerId="ADAL" clId="{C1B26877-EBFA-4931-A53E-EEF465880588}" dt="2023-12-13T09:51:59.921" v="3421" actId="948"/>
          <ac:spMkLst>
            <pc:docMk/>
            <pc:sldMk cId="1153576615" sldId="2147375801"/>
            <ac:spMk id="226" creationId="{45CC8D9F-9AC6-27ED-2F10-FCC808E8F121}"/>
          </ac:spMkLst>
        </pc:spChg>
        <pc:spChg chg="mod">
          <ac:chgData name="Leticia Silva" userId="ae98470f-b13e-4231-82f5-fda0897d4c9b" providerId="ADAL" clId="{C1B26877-EBFA-4931-A53E-EEF465880588}" dt="2023-12-13T09:51:59.879" v="3373"/>
          <ac:spMkLst>
            <pc:docMk/>
            <pc:sldMk cId="1153576615" sldId="2147375801"/>
            <ac:spMk id="227" creationId="{C61B0CE8-5F64-5C61-4ACA-0474E76273B6}"/>
          </ac:spMkLst>
        </pc:spChg>
        <pc:spChg chg="mod">
          <ac:chgData name="Leticia Silva" userId="ae98470f-b13e-4231-82f5-fda0897d4c9b" providerId="ADAL" clId="{C1B26877-EBFA-4931-A53E-EEF465880588}" dt="2023-12-13T09:51:59.890" v="3386"/>
          <ac:spMkLst>
            <pc:docMk/>
            <pc:sldMk cId="1153576615" sldId="2147375801"/>
            <ac:spMk id="228" creationId="{B102C272-A580-342D-4105-FAE407A51A82}"/>
          </ac:spMkLst>
        </pc:spChg>
        <pc:spChg chg="mod">
          <ac:chgData name="Leticia Silva" userId="ae98470f-b13e-4231-82f5-fda0897d4c9b" providerId="ADAL" clId="{C1B26877-EBFA-4931-A53E-EEF465880588}" dt="2023-12-13T09:51:59.891" v="3387"/>
          <ac:spMkLst>
            <pc:docMk/>
            <pc:sldMk cId="1153576615" sldId="2147375801"/>
            <ac:spMk id="229" creationId="{8C06AF2E-5E77-3F4D-343E-042F5D31917B}"/>
          </ac:spMkLst>
        </pc:spChg>
        <pc:spChg chg="mod">
          <ac:chgData name="Leticia Silva" userId="ae98470f-b13e-4231-82f5-fda0897d4c9b" providerId="ADAL" clId="{C1B26877-EBFA-4931-A53E-EEF465880588}" dt="2023-12-13T09:51:59.895" v="3392"/>
          <ac:spMkLst>
            <pc:docMk/>
            <pc:sldMk cId="1153576615" sldId="2147375801"/>
            <ac:spMk id="230" creationId="{0488A16A-BD63-4D0A-3932-59B1E6A51CEC}"/>
          </ac:spMkLst>
        </pc:spChg>
        <pc:spChg chg="mod">
          <ac:chgData name="Leticia Silva" userId="ae98470f-b13e-4231-82f5-fda0897d4c9b" providerId="ADAL" clId="{C1B26877-EBFA-4931-A53E-EEF465880588}" dt="2023-12-13T09:51:59.901" v="3397"/>
          <ac:spMkLst>
            <pc:docMk/>
            <pc:sldMk cId="1153576615" sldId="2147375801"/>
            <ac:spMk id="231" creationId="{C0D1B7CF-1369-BBE5-D499-060ACBD8770F}"/>
          </ac:spMkLst>
        </pc:spChg>
        <pc:spChg chg="mod ord">
          <ac:chgData name="Leticia Silva" userId="ae98470f-b13e-4231-82f5-fda0897d4c9b" providerId="ADAL" clId="{C1B26877-EBFA-4931-A53E-EEF465880588}" dt="2023-12-13T09:51:59.905" v="3401" actId="948"/>
          <ac:spMkLst>
            <pc:docMk/>
            <pc:sldMk cId="1153576615" sldId="2147375801"/>
            <ac:spMk id="232" creationId="{88A9019B-D5E4-8402-6AB3-396D79C9C0B5}"/>
          </ac:spMkLst>
        </pc:spChg>
        <pc:spChg chg="mod">
          <ac:chgData name="Leticia Silva" userId="ae98470f-b13e-4231-82f5-fda0897d4c9b" providerId="ADAL" clId="{C1B26877-EBFA-4931-A53E-EEF465880588}" dt="2023-12-13T09:51:59.902" v="3398"/>
          <ac:spMkLst>
            <pc:docMk/>
            <pc:sldMk cId="1153576615" sldId="2147375801"/>
            <ac:spMk id="233" creationId="{80E286B3-F992-9B26-E600-A76916BA4565}"/>
          </ac:spMkLst>
        </pc:spChg>
        <pc:spChg chg="mod ord">
          <ac:chgData name="Leticia Silva" userId="ae98470f-b13e-4231-82f5-fda0897d4c9b" providerId="ADAL" clId="{C1B26877-EBFA-4931-A53E-EEF465880588}" dt="2023-12-13T09:51:59.922" v="3422" actId="948"/>
          <ac:spMkLst>
            <pc:docMk/>
            <pc:sldMk cId="1153576615" sldId="2147375801"/>
            <ac:spMk id="234" creationId="{C29B1944-A66B-21F3-1F2B-9E24C8589D28}"/>
          </ac:spMkLst>
        </pc:spChg>
        <pc:spChg chg="mod ord">
          <ac:chgData name="Leticia Silva" userId="ae98470f-b13e-4231-82f5-fda0897d4c9b" providerId="ADAL" clId="{C1B26877-EBFA-4931-A53E-EEF465880588}" dt="2023-12-13T09:51:53.432" v="3328"/>
          <ac:spMkLst>
            <pc:docMk/>
            <pc:sldMk cId="1153576615" sldId="2147375801"/>
            <ac:spMk id="235" creationId="{5E438BEC-4BD3-A418-3F88-12449881EAC5}"/>
          </ac:spMkLst>
        </pc:spChg>
        <pc:spChg chg="mod ord">
          <ac:chgData name="Leticia Silva" userId="ae98470f-b13e-4231-82f5-fda0897d4c9b" providerId="ADAL" clId="{C1B26877-EBFA-4931-A53E-EEF465880588}" dt="2023-12-13T09:51:53.433" v="3330"/>
          <ac:spMkLst>
            <pc:docMk/>
            <pc:sldMk cId="1153576615" sldId="2147375801"/>
            <ac:spMk id="236" creationId="{9131EAC4-935E-B23B-E718-ADCC2EA6EA52}"/>
          </ac:spMkLst>
        </pc:spChg>
        <pc:spChg chg="mod ord">
          <ac:chgData name="Leticia Silva" userId="ae98470f-b13e-4231-82f5-fda0897d4c9b" providerId="ADAL" clId="{C1B26877-EBFA-4931-A53E-EEF465880588}" dt="2023-12-13T09:51:53.434" v="3332"/>
          <ac:spMkLst>
            <pc:docMk/>
            <pc:sldMk cId="1153576615" sldId="2147375801"/>
            <ac:spMk id="237" creationId="{DEA4C876-002D-4C51-7155-8C41C7B2B5D2}"/>
          </ac:spMkLst>
        </pc:spChg>
        <pc:spChg chg="mod ord">
          <ac:chgData name="Leticia Silva" userId="ae98470f-b13e-4231-82f5-fda0897d4c9b" providerId="ADAL" clId="{C1B26877-EBFA-4931-A53E-EEF465880588}" dt="2023-12-13T09:51:53.435" v="3334"/>
          <ac:spMkLst>
            <pc:docMk/>
            <pc:sldMk cId="1153576615" sldId="2147375801"/>
            <ac:spMk id="238" creationId="{7E18CEDC-908C-96BB-B185-1C4D431E6091}"/>
          </ac:spMkLst>
        </pc:spChg>
        <pc:spChg chg="mod">
          <ac:chgData name="Leticia Silva" userId="ae98470f-b13e-4231-82f5-fda0897d4c9b" providerId="ADAL" clId="{C1B26877-EBFA-4931-A53E-EEF465880588}" dt="2023-12-13T09:52:00.007" v="3493"/>
          <ac:spMkLst>
            <pc:docMk/>
            <pc:sldMk cId="1153576615" sldId="2147375801"/>
            <ac:spMk id="240" creationId="{E98F4AA2-3E73-A36A-A874-158E9775A76D}"/>
          </ac:spMkLst>
        </pc:spChg>
        <pc:spChg chg="mod">
          <ac:chgData name="Leticia Silva" userId="ae98470f-b13e-4231-82f5-fda0897d4c9b" providerId="ADAL" clId="{C1B26877-EBFA-4931-A53E-EEF465880588}" dt="2023-12-13T09:52:00.008" v="3495"/>
          <ac:spMkLst>
            <pc:docMk/>
            <pc:sldMk cId="1153576615" sldId="2147375801"/>
            <ac:spMk id="241" creationId="{86B7510F-D361-5476-EA8A-7CB320AAC9B0}"/>
          </ac:spMkLst>
        </pc:spChg>
        <pc:spChg chg="mod ord">
          <ac:chgData name="Leticia Silva" userId="ae98470f-b13e-4231-82f5-fda0897d4c9b" providerId="ADAL" clId="{C1B26877-EBFA-4931-A53E-EEF465880588}" dt="2023-12-13T09:51:53.436" v="3336"/>
          <ac:spMkLst>
            <pc:docMk/>
            <pc:sldMk cId="1153576615" sldId="2147375801"/>
            <ac:spMk id="251" creationId="{B3D6CAEB-6ED9-788B-6FA2-01A7425EDDBD}"/>
          </ac:spMkLst>
        </pc:spChg>
        <pc:spChg chg="mod ord">
          <ac:chgData name="Leticia Silva" userId="ae98470f-b13e-4231-82f5-fda0897d4c9b" providerId="ADAL" clId="{C1B26877-EBFA-4931-A53E-EEF465880588}" dt="2023-12-13T09:51:53.436" v="3338"/>
          <ac:spMkLst>
            <pc:docMk/>
            <pc:sldMk cId="1153576615" sldId="2147375801"/>
            <ac:spMk id="252" creationId="{2171171C-BB55-B20E-8D3F-9FB11697DC08}"/>
          </ac:spMkLst>
        </pc:spChg>
        <pc:spChg chg="mod ord">
          <ac:chgData name="Leticia Silva" userId="ae98470f-b13e-4231-82f5-fda0897d4c9b" providerId="ADAL" clId="{C1B26877-EBFA-4931-A53E-EEF465880588}" dt="2023-12-13T09:51:53.437" v="3340"/>
          <ac:spMkLst>
            <pc:docMk/>
            <pc:sldMk cId="1153576615" sldId="2147375801"/>
            <ac:spMk id="253" creationId="{12816B29-CB98-76E2-107F-A1BD7A060483}"/>
          </ac:spMkLst>
        </pc:spChg>
        <pc:spChg chg="mod ord">
          <ac:chgData name="Leticia Silva" userId="ae98470f-b13e-4231-82f5-fda0897d4c9b" providerId="ADAL" clId="{C1B26877-EBFA-4931-A53E-EEF465880588}" dt="2023-12-13T09:51:53.438" v="3342"/>
          <ac:spMkLst>
            <pc:docMk/>
            <pc:sldMk cId="1153576615" sldId="2147375801"/>
            <ac:spMk id="268" creationId="{1F9821D8-1457-4261-04D3-F0F241577D8C}"/>
          </ac:spMkLst>
        </pc:spChg>
        <pc:spChg chg="mod ord">
          <ac:chgData name="Leticia Silva" userId="ae98470f-b13e-4231-82f5-fda0897d4c9b" providerId="ADAL" clId="{C1B26877-EBFA-4931-A53E-EEF465880588}" dt="2023-12-13T09:51:53.439" v="3344"/>
          <ac:spMkLst>
            <pc:docMk/>
            <pc:sldMk cId="1153576615" sldId="2147375801"/>
            <ac:spMk id="269" creationId="{D5DAC934-530E-927F-F028-6A1A311501A1}"/>
          </ac:spMkLst>
        </pc:spChg>
        <pc:spChg chg="mod ord">
          <ac:chgData name="Leticia Silva" userId="ae98470f-b13e-4231-82f5-fda0897d4c9b" providerId="ADAL" clId="{C1B26877-EBFA-4931-A53E-EEF465880588}" dt="2023-12-13T09:51:53.439" v="3346"/>
          <ac:spMkLst>
            <pc:docMk/>
            <pc:sldMk cId="1153576615" sldId="2147375801"/>
            <ac:spMk id="270" creationId="{AE58B650-B18C-5237-1F84-5861D4B0C189}"/>
          </ac:spMkLst>
        </pc:spChg>
        <pc:spChg chg="mod ord">
          <ac:chgData name="Leticia Silva" userId="ae98470f-b13e-4231-82f5-fda0897d4c9b" providerId="ADAL" clId="{C1B26877-EBFA-4931-A53E-EEF465880588}" dt="2023-12-13T09:51:53.440" v="3348"/>
          <ac:spMkLst>
            <pc:docMk/>
            <pc:sldMk cId="1153576615" sldId="2147375801"/>
            <ac:spMk id="271" creationId="{326E7FF3-A65C-90B8-3712-B0CDF372E713}"/>
          </ac:spMkLst>
        </pc:spChg>
        <pc:spChg chg="mod ord">
          <ac:chgData name="Leticia Silva" userId="ae98470f-b13e-4231-82f5-fda0897d4c9b" providerId="ADAL" clId="{C1B26877-EBFA-4931-A53E-EEF465880588}" dt="2023-12-13T09:51:53.440" v="3350"/>
          <ac:spMkLst>
            <pc:docMk/>
            <pc:sldMk cId="1153576615" sldId="2147375801"/>
            <ac:spMk id="272" creationId="{9122A9EB-2F97-8F7A-CDD4-A2712600665B}"/>
          </ac:spMkLst>
        </pc:spChg>
        <pc:spChg chg="mod ord">
          <ac:chgData name="Leticia Silva" userId="ae98470f-b13e-4231-82f5-fda0897d4c9b" providerId="ADAL" clId="{C1B26877-EBFA-4931-A53E-EEF465880588}" dt="2023-12-13T09:51:53.441" v="3352"/>
          <ac:spMkLst>
            <pc:docMk/>
            <pc:sldMk cId="1153576615" sldId="2147375801"/>
            <ac:spMk id="273" creationId="{3CD45D32-2EE8-89D1-7C5F-F109AE4972DE}"/>
          </ac:spMkLst>
        </pc:spChg>
        <pc:spChg chg="mod ord">
          <ac:chgData name="Leticia Silva" userId="ae98470f-b13e-4231-82f5-fda0897d4c9b" providerId="ADAL" clId="{C1B26877-EBFA-4931-A53E-EEF465880588}" dt="2023-12-13T09:51:53.441" v="3354"/>
          <ac:spMkLst>
            <pc:docMk/>
            <pc:sldMk cId="1153576615" sldId="2147375801"/>
            <ac:spMk id="274" creationId="{BDB44C31-B0EF-D857-54D5-BC3D0EC75299}"/>
          </ac:spMkLst>
        </pc:spChg>
        <pc:spChg chg="mod ord">
          <ac:chgData name="Leticia Silva" userId="ae98470f-b13e-4231-82f5-fda0897d4c9b" providerId="ADAL" clId="{C1B26877-EBFA-4931-A53E-EEF465880588}" dt="2023-12-13T09:51:53.443" v="3356"/>
          <ac:spMkLst>
            <pc:docMk/>
            <pc:sldMk cId="1153576615" sldId="2147375801"/>
            <ac:spMk id="275" creationId="{23BA334F-6963-5040-4C6E-E2C868DA01F3}"/>
          </ac:spMkLst>
        </pc:spChg>
        <pc:spChg chg="mod ord">
          <ac:chgData name="Leticia Silva" userId="ae98470f-b13e-4231-82f5-fda0897d4c9b" providerId="ADAL" clId="{C1B26877-EBFA-4931-A53E-EEF465880588}" dt="2023-12-13T09:51:53.444" v="3358"/>
          <ac:spMkLst>
            <pc:docMk/>
            <pc:sldMk cId="1153576615" sldId="2147375801"/>
            <ac:spMk id="276" creationId="{EF1BF7E6-A145-ACBB-282F-66C4BC2AE3D2}"/>
          </ac:spMkLst>
        </pc:spChg>
        <pc:spChg chg="mod ord">
          <ac:chgData name="Leticia Silva" userId="ae98470f-b13e-4231-82f5-fda0897d4c9b" providerId="ADAL" clId="{C1B26877-EBFA-4931-A53E-EEF465880588}" dt="2023-12-13T09:51:53.444" v="3360"/>
          <ac:spMkLst>
            <pc:docMk/>
            <pc:sldMk cId="1153576615" sldId="2147375801"/>
            <ac:spMk id="277" creationId="{B8EDED8A-E8BE-9A6E-9D53-C15B52DA32B9}"/>
          </ac:spMkLst>
        </pc:spChg>
        <pc:spChg chg="mod ord">
          <ac:chgData name="Leticia Silva" userId="ae98470f-b13e-4231-82f5-fda0897d4c9b" providerId="ADAL" clId="{C1B26877-EBFA-4931-A53E-EEF465880588}" dt="2023-12-13T09:51:53.445" v="3362"/>
          <ac:spMkLst>
            <pc:docMk/>
            <pc:sldMk cId="1153576615" sldId="2147375801"/>
            <ac:spMk id="278" creationId="{0FB176DC-12E3-0CD3-B111-E8B4A711414D}"/>
          </ac:spMkLst>
        </pc:spChg>
        <pc:spChg chg="mod ord">
          <ac:chgData name="Leticia Silva" userId="ae98470f-b13e-4231-82f5-fda0897d4c9b" providerId="ADAL" clId="{C1B26877-EBFA-4931-A53E-EEF465880588}" dt="2023-12-13T09:51:53.446" v="3364"/>
          <ac:spMkLst>
            <pc:docMk/>
            <pc:sldMk cId="1153576615" sldId="2147375801"/>
            <ac:spMk id="279" creationId="{008AA39E-EB55-E175-FFA1-C0400F7981C6}"/>
          </ac:spMkLst>
        </pc:spChg>
        <pc:graphicFrameChg chg="mod">
          <ac:chgData name="Leticia Silva" userId="ae98470f-b13e-4231-82f5-fda0897d4c9b" providerId="ADAL" clId="{C1B26877-EBFA-4931-A53E-EEF465880588}" dt="2023-12-13T09:52:00.107" v="3501"/>
          <ac:graphicFrameMkLst>
            <pc:docMk/>
            <pc:sldMk cId="1153576615" sldId="2147375801"/>
            <ac:graphicFrameMk id="7" creationId="{1F667C36-CC60-A095-E175-B9E5FC1DF5FB}"/>
          </ac:graphicFrameMkLst>
        </pc:graphicFrameChg>
        <pc:cxnChg chg="mod ord">
          <ac:chgData name="Leticia Silva" userId="ae98470f-b13e-4231-82f5-fda0897d4c9b" providerId="ADAL" clId="{C1B26877-EBFA-4931-A53E-EEF465880588}" dt="2023-12-13T09:51:53.352" v="3119"/>
          <ac:cxnSpMkLst>
            <pc:docMk/>
            <pc:sldMk cId="1153576615" sldId="2147375801"/>
            <ac:cxnSpMk id="67" creationId="{7E31B1BB-E2D8-E404-5589-ED447F02E97D}"/>
          </ac:cxnSpMkLst>
        </pc:cxnChg>
        <pc:cxnChg chg="mod ord">
          <ac:chgData name="Leticia Silva" userId="ae98470f-b13e-4231-82f5-fda0897d4c9b" providerId="ADAL" clId="{C1B26877-EBFA-4931-A53E-EEF465880588}" dt="2023-12-13T09:51:53.353" v="3121"/>
          <ac:cxnSpMkLst>
            <pc:docMk/>
            <pc:sldMk cId="1153576615" sldId="2147375801"/>
            <ac:cxnSpMk id="68" creationId="{F88A5327-C5FC-CF28-9BC9-31B313CC1750}"/>
          </ac:cxnSpMkLst>
        </pc:cxnChg>
        <pc:cxnChg chg="mod ord">
          <ac:chgData name="Leticia Silva" userId="ae98470f-b13e-4231-82f5-fda0897d4c9b" providerId="ADAL" clId="{C1B26877-EBFA-4931-A53E-EEF465880588}" dt="2023-12-13T09:51:53.354" v="3123"/>
          <ac:cxnSpMkLst>
            <pc:docMk/>
            <pc:sldMk cId="1153576615" sldId="2147375801"/>
            <ac:cxnSpMk id="69" creationId="{79F01183-C7E4-003E-DC59-CC84FE79C85D}"/>
          </ac:cxnSpMkLst>
        </pc:cxnChg>
        <pc:cxnChg chg="mod ord">
          <ac:chgData name="Leticia Silva" userId="ae98470f-b13e-4231-82f5-fda0897d4c9b" providerId="ADAL" clId="{C1B26877-EBFA-4931-A53E-EEF465880588}" dt="2023-12-13T09:51:53.314" v="3023"/>
          <ac:cxnSpMkLst>
            <pc:docMk/>
            <pc:sldMk cId="1153576615" sldId="2147375801"/>
            <ac:cxnSpMk id="70" creationId="{1ECF43D5-18A5-90D5-250A-C4B609519F79}"/>
          </ac:cxnSpMkLst>
        </pc:cxnChg>
        <pc:cxnChg chg="mod ord">
          <ac:chgData name="Leticia Silva" userId="ae98470f-b13e-4231-82f5-fda0897d4c9b" providerId="ADAL" clId="{C1B26877-EBFA-4931-A53E-EEF465880588}" dt="2023-12-13T09:51:53.334" v="3071"/>
          <ac:cxnSpMkLst>
            <pc:docMk/>
            <pc:sldMk cId="1153576615" sldId="2147375801"/>
            <ac:cxnSpMk id="71" creationId="{BE3C4C67-D911-AA0C-FA9E-E3BB3CC1A9AB}"/>
          </ac:cxnSpMkLst>
        </pc:cxnChg>
        <pc:cxnChg chg="mod ord">
          <ac:chgData name="Leticia Silva" userId="ae98470f-b13e-4231-82f5-fda0897d4c9b" providerId="ADAL" clId="{C1B26877-EBFA-4931-A53E-EEF465880588}" dt="2023-12-13T09:51:53.339" v="3083"/>
          <ac:cxnSpMkLst>
            <pc:docMk/>
            <pc:sldMk cId="1153576615" sldId="2147375801"/>
            <ac:cxnSpMk id="72" creationId="{94A44C03-EF3B-7BD2-3FF3-AA909DEE72CD}"/>
          </ac:cxnSpMkLst>
        </pc:cxnChg>
        <pc:cxnChg chg="mod ord">
          <ac:chgData name="Leticia Silva" userId="ae98470f-b13e-4231-82f5-fda0897d4c9b" providerId="ADAL" clId="{C1B26877-EBFA-4931-A53E-EEF465880588}" dt="2023-12-13T09:51:53.317" v="3029"/>
          <ac:cxnSpMkLst>
            <pc:docMk/>
            <pc:sldMk cId="1153576615" sldId="2147375801"/>
            <ac:cxnSpMk id="73" creationId="{F6D29B6B-E5F9-C93C-C11F-02B8CC1334F8}"/>
          </ac:cxnSpMkLst>
        </pc:cxnChg>
        <pc:cxnChg chg="mod ord">
          <ac:chgData name="Leticia Silva" userId="ae98470f-b13e-4231-82f5-fda0897d4c9b" providerId="ADAL" clId="{C1B26877-EBFA-4931-A53E-EEF465880588}" dt="2023-12-13T09:51:53.318" v="3031"/>
          <ac:cxnSpMkLst>
            <pc:docMk/>
            <pc:sldMk cId="1153576615" sldId="2147375801"/>
            <ac:cxnSpMk id="74" creationId="{5BA2A22A-CC0B-31E1-981B-89EE753C6331}"/>
          </ac:cxnSpMkLst>
        </pc:cxnChg>
        <pc:cxnChg chg="mod ord">
          <ac:chgData name="Leticia Silva" userId="ae98470f-b13e-4231-82f5-fda0897d4c9b" providerId="ADAL" clId="{C1B26877-EBFA-4931-A53E-EEF465880588}" dt="2023-12-13T09:51:53.319" v="3033"/>
          <ac:cxnSpMkLst>
            <pc:docMk/>
            <pc:sldMk cId="1153576615" sldId="2147375801"/>
            <ac:cxnSpMk id="75" creationId="{02DAC459-AF78-0DE1-B336-E9C82A128F5C}"/>
          </ac:cxnSpMkLst>
        </pc:cxnChg>
        <pc:cxnChg chg="mod ord">
          <ac:chgData name="Leticia Silva" userId="ae98470f-b13e-4231-82f5-fda0897d4c9b" providerId="ADAL" clId="{C1B26877-EBFA-4931-A53E-EEF465880588}" dt="2023-12-13T09:51:53.320" v="3035"/>
          <ac:cxnSpMkLst>
            <pc:docMk/>
            <pc:sldMk cId="1153576615" sldId="2147375801"/>
            <ac:cxnSpMk id="76" creationId="{E55DA398-C3BA-8A09-BAD8-F13CABB0B5F0}"/>
          </ac:cxnSpMkLst>
        </pc:cxnChg>
        <pc:cxnChg chg="mod ord">
          <ac:chgData name="Leticia Silva" userId="ae98470f-b13e-4231-82f5-fda0897d4c9b" providerId="ADAL" clId="{C1B26877-EBFA-4931-A53E-EEF465880588}" dt="2023-12-13T09:51:53.321" v="3037"/>
          <ac:cxnSpMkLst>
            <pc:docMk/>
            <pc:sldMk cId="1153576615" sldId="2147375801"/>
            <ac:cxnSpMk id="77" creationId="{AB864E01-7B51-54FF-A21D-A6E81D543675}"/>
          </ac:cxnSpMkLst>
        </pc:cxnChg>
        <pc:cxnChg chg="mod ord">
          <ac:chgData name="Leticia Silva" userId="ae98470f-b13e-4231-82f5-fda0897d4c9b" providerId="ADAL" clId="{C1B26877-EBFA-4931-A53E-EEF465880588}" dt="2023-12-13T09:51:53.321" v="3039"/>
          <ac:cxnSpMkLst>
            <pc:docMk/>
            <pc:sldMk cId="1153576615" sldId="2147375801"/>
            <ac:cxnSpMk id="78" creationId="{05999A4D-C52E-9D87-665C-28FAE1F2C8BA}"/>
          </ac:cxnSpMkLst>
        </pc:cxnChg>
        <pc:cxnChg chg="mod ord">
          <ac:chgData name="Leticia Silva" userId="ae98470f-b13e-4231-82f5-fda0897d4c9b" providerId="ADAL" clId="{C1B26877-EBFA-4931-A53E-EEF465880588}" dt="2023-12-13T09:51:53.322" v="3041"/>
          <ac:cxnSpMkLst>
            <pc:docMk/>
            <pc:sldMk cId="1153576615" sldId="2147375801"/>
            <ac:cxnSpMk id="79" creationId="{9E0E3629-E466-733D-F34D-24CF37975663}"/>
          </ac:cxnSpMkLst>
        </pc:cxnChg>
        <pc:cxnChg chg="mod ord">
          <ac:chgData name="Leticia Silva" userId="ae98470f-b13e-4231-82f5-fda0897d4c9b" providerId="ADAL" clId="{C1B26877-EBFA-4931-A53E-EEF465880588}" dt="2023-12-13T09:51:53.323" v="3043"/>
          <ac:cxnSpMkLst>
            <pc:docMk/>
            <pc:sldMk cId="1153576615" sldId="2147375801"/>
            <ac:cxnSpMk id="80" creationId="{F453A6E3-4BA1-6BD8-0E98-2A00FEC0B259}"/>
          </ac:cxnSpMkLst>
        </pc:cxnChg>
        <pc:cxnChg chg="mod ord">
          <ac:chgData name="Leticia Silva" userId="ae98470f-b13e-4231-82f5-fda0897d4c9b" providerId="ADAL" clId="{C1B26877-EBFA-4931-A53E-EEF465880588}" dt="2023-12-13T09:51:53.324" v="3045"/>
          <ac:cxnSpMkLst>
            <pc:docMk/>
            <pc:sldMk cId="1153576615" sldId="2147375801"/>
            <ac:cxnSpMk id="81" creationId="{6646BD1E-AD93-D861-EEBC-110155973EC3}"/>
          </ac:cxnSpMkLst>
        </pc:cxnChg>
        <pc:cxnChg chg="mod ord">
          <ac:chgData name="Leticia Silva" userId="ae98470f-b13e-4231-82f5-fda0897d4c9b" providerId="ADAL" clId="{C1B26877-EBFA-4931-A53E-EEF465880588}" dt="2023-12-13T09:51:53.325" v="3047"/>
          <ac:cxnSpMkLst>
            <pc:docMk/>
            <pc:sldMk cId="1153576615" sldId="2147375801"/>
            <ac:cxnSpMk id="82" creationId="{BEA10834-2C0D-50A9-98C4-17AA3071042F}"/>
          </ac:cxnSpMkLst>
        </pc:cxnChg>
        <pc:cxnChg chg="mod ord">
          <ac:chgData name="Leticia Silva" userId="ae98470f-b13e-4231-82f5-fda0897d4c9b" providerId="ADAL" clId="{C1B26877-EBFA-4931-A53E-EEF465880588}" dt="2023-12-13T09:51:53.326" v="3049"/>
          <ac:cxnSpMkLst>
            <pc:docMk/>
            <pc:sldMk cId="1153576615" sldId="2147375801"/>
            <ac:cxnSpMk id="83" creationId="{ABC32D25-BA53-66BE-7282-A628F53F4F57}"/>
          </ac:cxnSpMkLst>
        </pc:cxnChg>
        <pc:cxnChg chg="mod ord">
          <ac:chgData name="Leticia Silva" userId="ae98470f-b13e-4231-82f5-fda0897d4c9b" providerId="ADAL" clId="{C1B26877-EBFA-4931-A53E-EEF465880588}" dt="2023-12-13T09:51:53.326" v="3051"/>
          <ac:cxnSpMkLst>
            <pc:docMk/>
            <pc:sldMk cId="1153576615" sldId="2147375801"/>
            <ac:cxnSpMk id="84" creationId="{B3B25393-5103-0412-B385-F1B18E74BE6C}"/>
          </ac:cxnSpMkLst>
        </pc:cxnChg>
        <pc:cxnChg chg="mod ord">
          <ac:chgData name="Leticia Silva" userId="ae98470f-b13e-4231-82f5-fda0897d4c9b" providerId="ADAL" clId="{C1B26877-EBFA-4931-A53E-EEF465880588}" dt="2023-12-13T09:51:53.327" v="3053"/>
          <ac:cxnSpMkLst>
            <pc:docMk/>
            <pc:sldMk cId="1153576615" sldId="2147375801"/>
            <ac:cxnSpMk id="85" creationId="{FDAD6120-9E3D-DAA7-B78A-CEB0429914F5}"/>
          </ac:cxnSpMkLst>
        </pc:cxnChg>
        <pc:cxnChg chg="mod ord">
          <ac:chgData name="Leticia Silva" userId="ae98470f-b13e-4231-82f5-fda0897d4c9b" providerId="ADAL" clId="{C1B26877-EBFA-4931-A53E-EEF465880588}" dt="2023-12-13T09:51:53.328" v="3055"/>
          <ac:cxnSpMkLst>
            <pc:docMk/>
            <pc:sldMk cId="1153576615" sldId="2147375801"/>
            <ac:cxnSpMk id="86" creationId="{DDFBA43D-FE0B-B1FF-2168-FF0488B26388}"/>
          </ac:cxnSpMkLst>
        </pc:cxnChg>
        <pc:cxnChg chg="mod ord">
          <ac:chgData name="Leticia Silva" userId="ae98470f-b13e-4231-82f5-fda0897d4c9b" providerId="ADAL" clId="{C1B26877-EBFA-4931-A53E-EEF465880588}" dt="2023-12-13T09:51:53.329" v="3057"/>
          <ac:cxnSpMkLst>
            <pc:docMk/>
            <pc:sldMk cId="1153576615" sldId="2147375801"/>
            <ac:cxnSpMk id="87" creationId="{1880178E-FA91-5BB8-D664-90C84C893DE3}"/>
          </ac:cxnSpMkLst>
        </pc:cxnChg>
        <pc:cxnChg chg="mod ord">
          <ac:chgData name="Leticia Silva" userId="ae98470f-b13e-4231-82f5-fda0897d4c9b" providerId="ADAL" clId="{C1B26877-EBFA-4931-A53E-EEF465880588}" dt="2023-12-13T09:51:53.330" v="3059"/>
          <ac:cxnSpMkLst>
            <pc:docMk/>
            <pc:sldMk cId="1153576615" sldId="2147375801"/>
            <ac:cxnSpMk id="88" creationId="{06A74EA9-0B09-2C1F-8CF6-E921D09E80F0}"/>
          </ac:cxnSpMkLst>
        </pc:cxnChg>
        <pc:cxnChg chg="mod ord">
          <ac:chgData name="Leticia Silva" userId="ae98470f-b13e-4231-82f5-fda0897d4c9b" providerId="ADAL" clId="{C1B26877-EBFA-4931-A53E-EEF465880588}" dt="2023-12-13T09:51:53.331" v="3061"/>
          <ac:cxnSpMkLst>
            <pc:docMk/>
            <pc:sldMk cId="1153576615" sldId="2147375801"/>
            <ac:cxnSpMk id="89" creationId="{4B5C9966-EA86-8171-8150-31D37AD504BB}"/>
          </ac:cxnSpMkLst>
        </pc:cxnChg>
        <pc:cxnChg chg="mod ord">
          <ac:chgData name="Leticia Silva" userId="ae98470f-b13e-4231-82f5-fda0897d4c9b" providerId="ADAL" clId="{C1B26877-EBFA-4931-A53E-EEF465880588}" dt="2023-12-13T09:51:53.331" v="3063"/>
          <ac:cxnSpMkLst>
            <pc:docMk/>
            <pc:sldMk cId="1153576615" sldId="2147375801"/>
            <ac:cxnSpMk id="90" creationId="{70BF7317-C847-655E-00D0-9328726A1E90}"/>
          </ac:cxnSpMkLst>
        </pc:cxnChg>
        <pc:cxnChg chg="mod ord">
          <ac:chgData name="Leticia Silva" userId="ae98470f-b13e-4231-82f5-fda0897d4c9b" providerId="ADAL" clId="{C1B26877-EBFA-4931-A53E-EEF465880588}" dt="2023-12-13T09:51:53.332" v="3065"/>
          <ac:cxnSpMkLst>
            <pc:docMk/>
            <pc:sldMk cId="1153576615" sldId="2147375801"/>
            <ac:cxnSpMk id="91" creationId="{9FCE26A6-1C49-892D-0419-19687A7DA7FE}"/>
          </ac:cxnSpMkLst>
        </pc:cxnChg>
        <pc:cxnChg chg="mod ord">
          <ac:chgData name="Leticia Silva" userId="ae98470f-b13e-4231-82f5-fda0897d4c9b" providerId="ADAL" clId="{C1B26877-EBFA-4931-A53E-EEF465880588}" dt="2023-12-13T09:51:53.333" v="3067"/>
          <ac:cxnSpMkLst>
            <pc:docMk/>
            <pc:sldMk cId="1153576615" sldId="2147375801"/>
            <ac:cxnSpMk id="92" creationId="{5D510BA9-E8F8-DE03-E8C6-3E83BBEC9345}"/>
          </ac:cxnSpMkLst>
        </pc:cxnChg>
        <pc:cxnChg chg="mod ord">
          <ac:chgData name="Leticia Silva" userId="ae98470f-b13e-4231-82f5-fda0897d4c9b" providerId="ADAL" clId="{C1B26877-EBFA-4931-A53E-EEF465880588}" dt="2023-12-13T09:51:53.334" v="3069"/>
          <ac:cxnSpMkLst>
            <pc:docMk/>
            <pc:sldMk cId="1153576615" sldId="2147375801"/>
            <ac:cxnSpMk id="93" creationId="{10E94096-5749-7264-FD91-D2A13CC7D9C3}"/>
          </ac:cxnSpMkLst>
        </pc:cxnChg>
        <pc:cxnChg chg="mod ord">
          <ac:chgData name="Leticia Silva" userId="ae98470f-b13e-4231-82f5-fda0897d4c9b" providerId="ADAL" clId="{C1B26877-EBFA-4931-A53E-EEF465880588}" dt="2023-12-13T09:51:53.335" v="3073"/>
          <ac:cxnSpMkLst>
            <pc:docMk/>
            <pc:sldMk cId="1153576615" sldId="2147375801"/>
            <ac:cxnSpMk id="94" creationId="{B6E626A0-BBA0-BF18-8FE6-CC98194C86CB}"/>
          </ac:cxnSpMkLst>
        </pc:cxnChg>
        <pc:cxnChg chg="mod ord">
          <ac:chgData name="Leticia Silva" userId="ae98470f-b13e-4231-82f5-fda0897d4c9b" providerId="ADAL" clId="{C1B26877-EBFA-4931-A53E-EEF465880588}" dt="2023-12-13T09:51:53.336" v="3075"/>
          <ac:cxnSpMkLst>
            <pc:docMk/>
            <pc:sldMk cId="1153576615" sldId="2147375801"/>
            <ac:cxnSpMk id="95" creationId="{3E454069-5554-6854-75F9-D94BBC259626}"/>
          </ac:cxnSpMkLst>
        </pc:cxnChg>
        <pc:cxnChg chg="mod ord">
          <ac:chgData name="Leticia Silva" userId="ae98470f-b13e-4231-82f5-fda0897d4c9b" providerId="ADAL" clId="{C1B26877-EBFA-4931-A53E-EEF465880588}" dt="2023-12-13T09:51:53.337" v="3077"/>
          <ac:cxnSpMkLst>
            <pc:docMk/>
            <pc:sldMk cId="1153576615" sldId="2147375801"/>
            <ac:cxnSpMk id="96" creationId="{99D23056-B080-88C4-34E9-258E028DA0AA}"/>
          </ac:cxnSpMkLst>
        </pc:cxnChg>
        <pc:cxnChg chg="mod ord">
          <ac:chgData name="Leticia Silva" userId="ae98470f-b13e-4231-82f5-fda0897d4c9b" providerId="ADAL" clId="{C1B26877-EBFA-4931-A53E-EEF465880588}" dt="2023-12-13T09:51:53.338" v="3079"/>
          <ac:cxnSpMkLst>
            <pc:docMk/>
            <pc:sldMk cId="1153576615" sldId="2147375801"/>
            <ac:cxnSpMk id="97" creationId="{7407D70C-FA4C-0985-EBC6-42EABA1AC51C}"/>
          </ac:cxnSpMkLst>
        </pc:cxnChg>
        <pc:cxnChg chg="mod ord">
          <ac:chgData name="Leticia Silva" userId="ae98470f-b13e-4231-82f5-fda0897d4c9b" providerId="ADAL" clId="{C1B26877-EBFA-4931-A53E-EEF465880588}" dt="2023-12-13T09:51:53.339" v="3081"/>
          <ac:cxnSpMkLst>
            <pc:docMk/>
            <pc:sldMk cId="1153576615" sldId="2147375801"/>
            <ac:cxnSpMk id="98" creationId="{0C94E254-AEAE-8CFE-5D8D-C3FB92807DE2}"/>
          </ac:cxnSpMkLst>
        </pc:cxnChg>
        <pc:cxnChg chg="mod ord">
          <ac:chgData name="Leticia Silva" userId="ae98470f-b13e-4231-82f5-fda0897d4c9b" providerId="ADAL" clId="{C1B26877-EBFA-4931-A53E-EEF465880588}" dt="2023-12-13T09:51:53.341" v="3087"/>
          <ac:cxnSpMkLst>
            <pc:docMk/>
            <pc:sldMk cId="1153576615" sldId="2147375801"/>
            <ac:cxnSpMk id="99" creationId="{1DD31E87-AFE0-442C-BCF1-DFFAFEDB6E83}"/>
          </ac:cxnSpMkLst>
        </pc:cxnChg>
        <pc:cxnChg chg="mod ord">
          <ac:chgData name="Leticia Silva" userId="ae98470f-b13e-4231-82f5-fda0897d4c9b" providerId="ADAL" clId="{C1B26877-EBFA-4931-A53E-EEF465880588}" dt="2023-12-13T09:51:53.340" v="3085"/>
          <ac:cxnSpMkLst>
            <pc:docMk/>
            <pc:sldMk cId="1153576615" sldId="2147375801"/>
            <ac:cxnSpMk id="100" creationId="{4C32E6B1-1370-A9DC-B1EF-B7BE23A2D038}"/>
          </ac:cxnSpMkLst>
        </pc:cxnChg>
        <pc:cxnChg chg="mod ord">
          <ac:chgData name="Leticia Silva" userId="ae98470f-b13e-4231-82f5-fda0897d4c9b" providerId="ADAL" clId="{C1B26877-EBFA-4931-A53E-EEF465880588}" dt="2023-12-13T09:51:53.342" v="3089"/>
          <ac:cxnSpMkLst>
            <pc:docMk/>
            <pc:sldMk cId="1153576615" sldId="2147375801"/>
            <ac:cxnSpMk id="101" creationId="{B3451781-EB09-2656-7D06-EAEB1617E370}"/>
          </ac:cxnSpMkLst>
        </pc:cxnChg>
        <pc:cxnChg chg="mod ord">
          <ac:chgData name="Leticia Silva" userId="ae98470f-b13e-4231-82f5-fda0897d4c9b" providerId="ADAL" clId="{C1B26877-EBFA-4931-A53E-EEF465880588}" dt="2023-12-13T09:51:53.342" v="3091"/>
          <ac:cxnSpMkLst>
            <pc:docMk/>
            <pc:sldMk cId="1153576615" sldId="2147375801"/>
            <ac:cxnSpMk id="103" creationId="{9A6F1B0B-08AE-4BA7-BFFA-3BE96AD9F917}"/>
          </ac:cxnSpMkLst>
        </pc:cxnChg>
        <pc:cxnChg chg="mod ord">
          <ac:chgData name="Leticia Silva" userId="ae98470f-b13e-4231-82f5-fda0897d4c9b" providerId="ADAL" clId="{C1B26877-EBFA-4931-A53E-EEF465880588}" dt="2023-12-13T09:51:53.343" v="3093"/>
          <ac:cxnSpMkLst>
            <pc:docMk/>
            <pc:sldMk cId="1153576615" sldId="2147375801"/>
            <ac:cxnSpMk id="104" creationId="{DBFDB064-DB73-F28E-0EC2-CEDE30DD5663}"/>
          </ac:cxnSpMkLst>
        </pc:cxnChg>
        <pc:cxnChg chg="mod ord">
          <ac:chgData name="Leticia Silva" userId="ae98470f-b13e-4231-82f5-fda0897d4c9b" providerId="ADAL" clId="{C1B26877-EBFA-4931-A53E-EEF465880588}" dt="2023-12-13T09:51:53.344" v="3095"/>
          <ac:cxnSpMkLst>
            <pc:docMk/>
            <pc:sldMk cId="1153576615" sldId="2147375801"/>
            <ac:cxnSpMk id="105" creationId="{408E5576-4F43-C9B1-93E8-2FAE3E150C74}"/>
          </ac:cxnSpMkLst>
        </pc:cxnChg>
        <pc:cxnChg chg="mod ord">
          <ac:chgData name="Leticia Silva" userId="ae98470f-b13e-4231-82f5-fda0897d4c9b" providerId="ADAL" clId="{C1B26877-EBFA-4931-A53E-EEF465880588}" dt="2023-12-13T09:51:53.344" v="3097"/>
          <ac:cxnSpMkLst>
            <pc:docMk/>
            <pc:sldMk cId="1153576615" sldId="2147375801"/>
            <ac:cxnSpMk id="106" creationId="{3CFBDC8A-1169-9FE1-EC5F-321330A14AB7}"/>
          </ac:cxnSpMkLst>
        </pc:cxnChg>
        <pc:cxnChg chg="del">
          <ac:chgData name="Leticia Silva" userId="ae98470f-b13e-4231-82f5-fda0897d4c9b" providerId="ADAL" clId="{C1B26877-EBFA-4931-A53E-EEF465880588}" dt="2023-12-13T09:51:12.726" v="482"/>
          <ac:cxnSpMkLst>
            <pc:docMk/>
            <pc:sldMk cId="1153576615" sldId="2147375801"/>
            <ac:cxnSpMk id="107" creationId="{73DC48A8-1D01-E5EA-9F81-982E7D6DA2FD}"/>
          </ac:cxnSpMkLst>
        </pc:cxnChg>
        <pc:cxnChg chg="mod ord">
          <ac:chgData name="Leticia Silva" userId="ae98470f-b13e-4231-82f5-fda0897d4c9b" providerId="ADAL" clId="{C1B26877-EBFA-4931-A53E-EEF465880588}" dt="2023-12-13T09:51:53.345" v="3099"/>
          <ac:cxnSpMkLst>
            <pc:docMk/>
            <pc:sldMk cId="1153576615" sldId="2147375801"/>
            <ac:cxnSpMk id="108" creationId="{6DEB9DB8-6016-79E3-3C17-250EDA4EA6DF}"/>
          </ac:cxnSpMkLst>
        </pc:cxnChg>
        <pc:cxnChg chg="mod ord">
          <ac:chgData name="Leticia Silva" userId="ae98470f-b13e-4231-82f5-fda0897d4c9b" providerId="ADAL" clId="{C1B26877-EBFA-4931-A53E-EEF465880588}" dt="2023-12-13T09:51:53.346" v="3101"/>
          <ac:cxnSpMkLst>
            <pc:docMk/>
            <pc:sldMk cId="1153576615" sldId="2147375801"/>
            <ac:cxnSpMk id="109" creationId="{5A79ED4B-640E-7B22-18DA-5872C8A66FDA}"/>
          </ac:cxnSpMkLst>
        </pc:cxnChg>
        <pc:cxnChg chg="mod ord">
          <ac:chgData name="Leticia Silva" userId="ae98470f-b13e-4231-82f5-fda0897d4c9b" providerId="ADAL" clId="{C1B26877-EBFA-4931-A53E-EEF465880588}" dt="2023-12-13T09:51:53.347" v="3103"/>
          <ac:cxnSpMkLst>
            <pc:docMk/>
            <pc:sldMk cId="1153576615" sldId="2147375801"/>
            <ac:cxnSpMk id="110" creationId="{8576568C-20AB-632B-78D1-EDB86AC8569F}"/>
          </ac:cxnSpMkLst>
        </pc:cxnChg>
        <pc:cxnChg chg="mod ord">
          <ac:chgData name="Leticia Silva" userId="ae98470f-b13e-4231-82f5-fda0897d4c9b" providerId="ADAL" clId="{C1B26877-EBFA-4931-A53E-EEF465880588}" dt="2023-12-13T09:51:53.347" v="3105"/>
          <ac:cxnSpMkLst>
            <pc:docMk/>
            <pc:sldMk cId="1153576615" sldId="2147375801"/>
            <ac:cxnSpMk id="111" creationId="{6F6AC891-D6B5-CBD0-CBB9-FDBC6FE6DD82}"/>
          </ac:cxnSpMkLst>
        </pc:cxnChg>
        <pc:cxnChg chg="mod ord">
          <ac:chgData name="Leticia Silva" userId="ae98470f-b13e-4231-82f5-fda0897d4c9b" providerId="ADAL" clId="{C1B26877-EBFA-4931-A53E-EEF465880588}" dt="2023-12-13T09:51:53.348" v="3107"/>
          <ac:cxnSpMkLst>
            <pc:docMk/>
            <pc:sldMk cId="1153576615" sldId="2147375801"/>
            <ac:cxnSpMk id="112" creationId="{A2C1A27F-075F-ECB5-2E05-D90DF4553ED6}"/>
          </ac:cxnSpMkLst>
        </pc:cxnChg>
        <pc:cxnChg chg="mod ord">
          <ac:chgData name="Leticia Silva" userId="ae98470f-b13e-4231-82f5-fda0897d4c9b" providerId="ADAL" clId="{C1B26877-EBFA-4931-A53E-EEF465880588}" dt="2023-12-13T09:51:53.349" v="3109"/>
          <ac:cxnSpMkLst>
            <pc:docMk/>
            <pc:sldMk cId="1153576615" sldId="2147375801"/>
            <ac:cxnSpMk id="113" creationId="{2AB553E3-5E3B-3604-2E7A-46C69ECB0EDC}"/>
          </ac:cxnSpMkLst>
        </pc:cxnChg>
        <pc:cxnChg chg="add del mod ord replST">
          <ac:chgData name="Leticia Silva" userId="ae98470f-b13e-4231-82f5-fda0897d4c9b" providerId="ADAL" clId="{C1B26877-EBFA-4931-A53E-EEF465880588}" dt="2023-12-13T09:52:00.076" v="3497"/>
          <ac:cxnSpMkLst>
            <pc:docMk/>
            <pc:sldMk cId="1153576615" sldId="2147375801"/>
            <ac:cxnSpMk id="114" creationId="{E9B86AE0-0869-51BD-7C86-7D8AB0EC7059}"/>
          </ac:cxnSpMkLst>
        </pc:cxnChg>
        <pc:cxnChg chg="mod ord">
          <ac:chgData name="Leticia Silva" userId="ae98470f-b13e-4231-82f5-fda0897d4c9b" providerId="ADAL" clId="{C1B26877-EBFA-4931-A53E-EEF465880588}" dt="2023-12-13T09:51:53.358" v="3135"/>
          <ac:cxnSpMkLst>
            <pc:docMk/>
            <pc:sldMk cId="1153576615" sldId="2147375801"/>
            <ac:cxnSpMk id="116" creationId="{6E3763D0-74BA-656B-5E49-7A3036BD8C98}"/>
          </ac:cxnSpMkLst>
        </pc:cxnChg>
        <pc:cxnChg chg="mod ord">
          <ac:chgData name="Leticia Silva" userId="ae98470f-b13e-4231-82f5-fda0897d4c9b" providerId="ADAL" clId="{C1B26877-EBFA-4931-A53E-EEF465880588}" dt="2023-12-13T09:51:53.356" v="3129"/>
          <ac:cxnSpMkLst>
            <pc:docMk/>
            <pc:sldMk cId="1153576615" sldId="2147375801"/>
            <ac:cxnSpMk id="117" creationId="{92856AB9-B231-55FF-F630-A98C5B841611}"/>
          </ac:cxnSpMkLst>
        </pc:cxnChg>
        <pc:cxnChg chg="mod ord">
          <ac:chgData name="Leticia Silva" userId="ae98470f-b13e-4231-82f5-fda0897d4c9b" providerId="ADAL" clId="{C1B26877-EBFA-4931-A53E-EEF465880588}" dt="2023-12-13T09:51:53.355" v="3125"/>
          <ac:cxnSpMkLst>
            <pc:docMk/>
            <pc:sldMk cId="1153576615" sldId="2147375801"/>
            <ac:cxnSpMk id="118" creationId="{E3DF2317-F4E7-61B0-E660-6F094259F985}"/>
          </ac:cxnSpMkLst>
        </pc:cxnChg>
        <pc:cxnChg chg="mod ord">
          <ac:chgData name="Leticia Silva" userId="ae98470f-b13e-4231-82f5-fda0897d4c9b" providerId="ADAL" clId="{C1B26877-EBFA-4931-A53E-EEF465880588}" dt="2023-12-13T09:51:53.358" v="3133"/>
          <ac:cxnSpMkLst>
            <pc:docMk/>
            <pc:sldMk cId="1153576615" sldId="2147375801"/>
            <ac:cxnSpMk id="119" creationId="{0BA44186-09B3-7464-2FAE-3CA4441FD790}"/>
          </ac:cxnSpMkLst>
        </pc:cxnChg>
        <pc:cxnChg chg="mod ord">
          <ac:chgData name="Leticia Silva" userId="ae98470f-b13e-4231-82f5-fda0897d4c9b" providerId="ADAL" clId="{C1B26877-EBFA-4931-A53E-EEF465880588}" dt="2023-12-13T09:51:53.355" v="3127"/>
          <ac:cxnSpMkLst>
            <pc:docMk/>
            <pc:sldMk cId="1153576615" sldId="2147375801"/>
            <ac:cxnSpMk id="120" creationId="{545B1D29-80B3-E9E2-CAEF-5983C9AB6036}"/>
          </ac:cxnSpMkLst>
        </pc:cxnChg>
        <pc:cxnChg chg="mod ord">
          <ac:chgData name="Leticia Silva" userId="ae98470f-b13e-4231-82f5-fda0897d4c9b" providerId="ADAL" clId="{C1B26877-EBFA-4931-A53E-EEF465880588}" dt="2023-12-13T09:51:53.357" v="3131"/>
          <ac:cxnSpMkLst>
            <pc:docMk/>
            <pc:sldMk cId="1153576615" sldId="2147375801"/>
            <ac:cxnSpMk id="121" creationId="{034D6545-431E-F7A0-6753-0893EC73FD25}"/>
          </ac:cxnSpMkLst>
        </pc:cxnChg>
        <pc:cxnChg chg="mod ord">
          <ac:chgData name="Leticia Silva" userId="ae98470f-b13e-4231-82f5-fda0897d4c9b" providerId="ADAL" clId="{C1B26877-EBFA-4931-A53E-EEF465880588}" dt="2023-12-13T09:51:53.359" v="3137"/>
          <ac:cxnSpMkLst>
            <pc:docMk/>
            <pc:sldMk cId="1153576615" sldId="2147375801"/>
            <ac:cxnSpMk id="122" creationId="{55388708-845D-3789-7D9D-E1A489D321E4}"/>
          </ac:cxnSpMkLst>
        </pc:cxnChg>
        <pc:cxnChg chg="mod ord">
          <ac:chgData name="Leticia Silva" userId="ae98470f-b13e-4231-82f5-fda0897d4c9b" providerId="ADAL" clId="{C1B26877-EBFA-4931-A53E-EEF465880588}" dt="2023-12-13T09:51:53.362" v="3145"/>
          <ac:cxnSpMkLst>
            <pc:docMk/>
            <pc:sldMk cId="1153576615" sldId="2147375801"/>
            <ac:cxnSpMk id="123" creationId="{1BAD0CC1-7AE4-83B4-1C45-CB95B06C4062}"/>
          </ac:cxnSpMkLst>
        </pc:cxnChg>
        <pc:cxnChg chg="mod ord">
          <ac:chgData name="Leticia Silva" userId="ae98470f-b13e-4231-82f5-fda0897d4c9b" providerId="ADAL" clId="{C1B26877-EBFA-4931-A53E-EEF465880588}" dt="2023-12-13T09:51:53.361" v="3141"/>
          <ac:cxnSpMkLst>
            <pc:docMk/>
            <pc:sldMk cId="1153576615" sldId="2147375801"/>
            <ac:cxnSpMk id="124" creationId="{3420362D-7395-1142-7A6B-F32578DCB1DC}"/>
          </ac:cxnSpMkLst>
        </pc:cxnChg>
        <pc:cxnChg chg="mod ord">
          <ac:chgData name="Leticia Silva" userId="ae98470f-b13e-4231-82f5-fda0897d4c9b" providerId="ADAL" clId="{C1B26877-EBFA-4931-A53E-EEF465880588}" dt="2023-12-13T09:51:53.362" v="3143"/>
          <ac:cxnSpMkLst>
            <pc:docMk/>
            <pc:sldMk cId="1153576615" sldId="2147375801"/>
            <ac:cxnSpMk id="125" creationId="{7BCA3C77-9FBB-CAFB-6685-9B9C04E66FE1}"/>
          </ac:cxnSpMkLst>
        </pc:cxnChg>
        <pc:cxnChg chg="mod ord">
          <ac:chgData name="Leticia Silva" userId="ae98470f-b13e-4231-82f5-fda0897d4c9b" providerId="ADAL" clId="{C1B26877-EBFA-4931-A53E-EEF465880588}" dt="2023-12-13T09:51:59.948" v="3431"/>
          <ac:cxnSpMkLst>
            <pc:docMk/>
            <pc:sldMk cId="1153576615" sldId="2147375801"/>
            <ac:cxnSpMk id="126" creationId="{4140853A-DFBB-A481-04AF-29302089EE20}"/>
          </ac:cxnSpMkLst>
        </pc:cxnChg>
        <pc:cxnChg chg="mod ord">
          <ac:chgData name="Leticia Silva" userId="ae98470f-b13e-4231-82f5-fda0897d4c9b" providerId="ADAL" clId="{C1B26877-EBFA-4931-A53E-EEF465880588}" dt="2023-12-13T09:51:53.363" v="3147"/>
          <ac:cxnSpMkLst>
            <pc:docMk/>
            <pc:sldMk cId="1153576615" sldId="2147375801"/>
            <ac:cxnSpMk id="127" creationId="{69397F95-5799-D447-20A8-C8400C7B4238}"/>
          </ac:cxnSpMkLst>
        </pc:cxnChg>
        <pc:cxnChg chg="mod ord">
          <ac:chgData name="Leticia Silva" userId="ae98470f-b13e-4231-82f5-fda0897d4c9b" providerId="ADAL" clId="{C1B26877-EBFA-4931-A53E-EEF465880588}" dt="2023-12-13T09:51:53.364" v="3149"/>
          <ac:cxnSpMkLst>
            <pc:docMk/>
            <pc:sldMk cId="1153576615" sldId="2147375801"/>
            <ac:cxnSpMk id="128" creationId="{389D7311-1DDF-BCC9-692E-4C84A78FE766}"/>
          </ac:cxnSpMkLst>
        </pc:cxnChg>
        <pc:cxnChg chg="mod ord">
          <ac:chgData name="Leticia Silva" userId="ae98470f-b13e-4231-82f5-fda0897d4c9b" providerId="ADAL" clId="{C1B26877-EBFA-4931-A53E-EEF465880588}" dt="2023-12-13T09:51:53.365" v="3151"/>
          <ac:cxnSpMkLst>
            <pc:docMk/>
            <pc:sldMk cId="1153576615" sldId="2147375801"/>
            <ac:cxnSpMk id="129" creationId="{81418F27-2F5D-1252-DEC3-99F40AEA0F93}"/>
          </ac:cxnSpMkLst>
        </pc:cxnChg>
        <pc:cxnChg chg="mod ord">
          <ac:chgData name="Leticia Silva" userId="ae98470f-b13e-4231-82f5-fda0897d4c9b" providerId="ADAL" clId="{C1B26877-EBFA-4931-A53E-EEF465880588}" dt="2023-12-13T09:51:59.947" v="3427"/>
          <ac:cxnSpMkLst>
            <pc:docMk/>
            <pc:sldMk cId="1153576615" sldId="2147375801"/>
            <ac:cxnSpMk id="165" creationId="{264CCCDB-B4EB-AAB3-1594-5B37B4D590F3}"/>
          </ac:cxnSpMkLst>
        </pc:cxnChg>
        <pc:cxnChg chg="mod ord">
          <ac:chgData name="Leticia Silva" userId="ae98470f-b13e-4231-82f5-fda0897d4c9b" providerId="ADAL" clId="{C1B26877-EBFA-4931-A53E-EEF465880588}" dt="2023-12-13T09:51:53.402" v="3245"/>
          <ac:cxnSpMkLst>
            <pc:docMk/>
            <pc:sldMk cId="1153576615" sldId="2147375801"/>
            <ac:cxnSpMk id="178" creationId="{B8CCD7BB-E95E-AE17-91E9-58B719B88578}"/>
          </ac:cxnSpMkLst>
        </pc:cxnChg>
        <pc:cxnChg chg="mod ord">
          <ac:chgData name="Leticia Silva" userId="ae98470f-b13e-4231-82f5-fda0897d4c9b" providerId="ADAL" clId="{C1B26877-EBFA-4931-A53E-EEF465880588}" dt="2023-12-13T09:51:53.316" v="3027"/>
          <ac:cxnSpMkLst>
            <pc:docMk/>
            <pc:sldMk cId="1153576615" sldId="2147375801"/>
            <ac:cxnSpMk id="179" creationId="{EAA96DDF-684E-BC48-B8B6-0B2BA523B4D9}"/>
          </ac:cxnSpMkLst>
        </pc:cxnChg>
        <pc:cxnChg chg="mod ord">
          <ac:chgData name="Leticia Silva" userId="ae98470f-b13e-4231-82f5-fda0897d4c9b" providerId="ADAL" clId="{C1B26877-EBFA-4931-A53E-EEF465880588}" dt="2023-12-13T09:51:53.402" v="3247"/>
          <ac:cxnSpMkLst>
            <pc:docMk/>
            <pc:sldMk cId="1153576615" sldId="2147375801"/>
            <ac:cxnSpMk id="180" creationId="{F9ABAB3B-432C-6DF8-AF7E-8D383BB930BD}"/>
          </ac:cxnSpMkLst>
        </pc:cxnChg>
        <pc:cxnChg chg="mod ord">
          <ac:chgData name="Leticia Silva" userId="ae98470f-b13e-4231-82f5-fda0897d4c9b" providerId="ADAL" clId="{C1B26877-EBFA-4931-A53E-EEF465880588}" dt="2023-12-13T09:51:53.404" v="3251"/>
          <ac:cxnSpMkLst>
            <pc:docMk/>
            <pc:sldMk cId="1153576615" sldId="2147375801"/>
            <ac:cxnSpMk id="181" creationId="{96475D3B-0DE1-5FC3-2F91-7E9BA29410F2}"/>
          </ac:cxnSpMkLst>
        </pc:cxnChg>
        <pc:cxnChg chg="mod ord">
          <ac:chgData name="Leticia Silva" userId="ae98470f-b13e-4231-82f5-fda0897d4c9b" providerId="ADAL" clId="{C1B26877-EBFA-4931-A53E-EEF465880588}" dt="2023-12-13T09:51:53.403" v="3249"/>
          <ac:cxnSpMkLst>
            <pc:docMk/>
            <pc:sldMk cId="1153576615" sldId="2147375801"/>
            <ac:cxnSpMk id="182" creationId="{7144F826-5507-813E-7693-2030F71C45B1}"/>
          </ac:cxnSpMkLst>
        </pc:cxnChg>
        <pc:cxnChg chg="mod ord">
          <ac:chgData name="Leticia Silva" userId="ae98470f-b13e-4231-82f5-fda0897d4c9b" providerId="ADAL" clId="{C1B26877-EBFA-4931-A53E-EEF465880588}" dt="2023-12-13T09:51:53.351" v="3115"/>
          <ac:cxnSpMkLst>
            <pc:docMk/>
            <pc:sldMk cId="1153576615" sldId="2147375801"/>
            <ac:cxnSpMk id="239" creationId="{73E3A55E-475B-817C-212B-95A09E44BCFB}"/>
          </ac:cxnSpMkLst>
        </pc:cxnChg>
        <pc:cxnChg chg="mod ord">
          <ac:chgData name="Leticia Silva" userId="ae98470f-b13e-4231-82f5-fda0897d4c9b" providerId="ADAL" clId="{C1B26877-EBFA-4931-A53E-EEF465880588}" dt="2023-12-13T09:51:53.350" v="3113"/>
          <ac:cxnSpMkLst>
            <pc:docMk/>
            <pc:sldMk cId="1153576615" sldId="2147375801"/>
            <ac:cxnSpMk id="242" creationId="{F976E0BF-A034-ACC7-B764-B977CED9ACF3}"/>
          </ac:cxnSpMkLst>
        </pc:cxnChg>
        <pc:cxnChg chg="mod ord">
          <ac:chgData name="Leticia Silva" userId="ae98470f-b13e-4231-82f5-fda0897d4c9b" providerId="ADAL" clId="{C1B26877-EBFA-4931-A53E-EEF465880588}" dt="2023-12-13T09:51:53.351" v="3117"/>
          <ac:cxnSpMkLst>
            <pc:docMk/>
            <pc:sldMk cId="1153576615" sldId="2147375801"/>
            <ac:cxnSpMk id="243" creationId="{C73F5AA8-00D5-6D04-9292-5FE163EBDBB2}"/>
          </ac:cxnSpMkLst>
        </pc:cxnChg>
        <pc:cxnChg chg="mod ord">
          <ac:chgData name="Leticia Silva" userId="ae98470f-b13e-4231-82f5-fda0897d4c9b" providerId="ADAL" clId="{C1B26877-EBFA-4931-A53E-EEF465880588}" dt="2023-12-13T09:51:53.349" v="3111"/>
          <ac:cxnSpMkLst>
            <pc:docMk/>
            <pc:sldMk cId="1153576615" sldId="2147375801"/>
            <ac:cxnSpMk id="245" creationId="{D2FB6F13-B20C-DA56-18B6-EB255D36B5C4}"/>
          </ac:cxnSpMkLst>
        </pc:cxnChg>
      </pc:sldChg>
    </pc:docChg>
  </pc:docChgLst>
  <pc:docChgLst>
    <pc:chgData name="Jorge Costa" userId="6f0ed375-7d90-4a84-93f2-03ffaae48f30" providerId="ADAL" clId="{D711CBB1-0BD3-48F1-8236-238A8F9303FA}"/>
    <pc:docChg chg="undo custSel modSld replTag">
      <pc:chgData name="Jorge Costa" userId="6f0ed375-7d90-4a84-93f2-03ffaae48f30" providerId="ADAL" clId="{D711CBB1-0BD3-48F1-8236-238A8F9303FA}" dt="2023-12-13T18:17:23.924" v="3184" actId="14100"/>
      <pc:docMkLst>
        <pc:docMk/>
      </pc:docMkLst>
      <pc:sldChg chg="modSp mod">
        <pc:chgData name="Jorge Costa" userId="6f0ed375-7d90-4a84-93f2-03ffaae48f30" providerId="ADAL" clId="{D711CBB1-0BD3-48F1-8236-238A8F9303FA}" dt="2023-12-13T18:04:59.951" v="2430" actId="13926"/>
        <pc:sldMkLst>
          <pc:docMk/>
          <pc:sldMk cId="287634135" sldId="2147375742"/>
        </pc:sldMkLst>
        <pc:graphicFrameChg chg="mod modGraphic">
          <ac:chgData name="Jorge Costa" userId="6f0ed375-7d90-4a84-93f2-03ffaae48f30" providerId="ADAL" clId="{D711CBB1-0BD3-48F1-8236-238A8F9303FA}" dt="2023-12-13T18:04:59.951" v="2430" actId="13926"/>
          <ac:graphicFrameMkLst>
            <pc:docMk/>
            <pc:sldMk cId="287634135" sldId="2147375742"/>
            <ac:graphicFrameMk id="7" creationId="{1F13A2E4-818E-9DCE-8C94-2435952FC187}"/>
          </ac:graphicFrameMkLst>
        </pc:graphicFrameChg>
      </pc:sldChg>
      <pc:sldChg chg="modSp mod">
        <pc:chgData name="Jorge Costa" userId="6f0ed375-7d90-4a84-93f2-03ffaae48f30" providerId="ADAL" clId="{D711CBB1-0BD3-48F1-8236-238A8F9303FA}" dt="2023-12-13T18:07:10.119" v="2436" actId="13926"/>
        <pc:sldMkLst>
          <pc:docMk/>
          <pc:sldMk cId="3194976059" sldId="2147375744"/>
        </pc:sldMkLst>
        <pc:graphicFrameChg chg="modGraphic">
          <ac:chgData name="Jorge Costa" userId="6f0ed375-7d90-4a84-93f2-03ffaae48f30" providerId="ADAL" clId="{D711CBB1-0BD3-48F1-8236-238A8F9303FA}" dt="2023-12-13T18:07:10.119" v="2436" actId="13926"/>
          <ac:graphicFrameMkLst>
            <pc:docMk/>
            <pc:sldMk cId="3194976059" sldId="2147375744"/>
            <ac:graphicFrameMk id="7" creationId="{1F13A2E4-818E-9DCE-8C94-2435952FC187}"/>
          </ac:graphicFrameMkLst>
        </pc:graphicFrameChg>
      </pc:sldChg>
      <pc:sldChg chg="modSp mod">
        <pc:chgData name="Jorge Costa" userId="6f0ed375-7d90-4a84-93f2-03ffaae48f30" providerId="ADAL" clId="{D711CBB1-0BD3-48F1-8236-238A8F9303FA}" dt="2023-12-13T18:14:24.061" v="2597" actId="20577"/>
        <pc:sldMkLst>
          <pc:docMk/>
          <pc:sldMk cId="3953336687" sldId="2147375752"/>
        </pc:sldMkLst>
        <pc:spChg chg="mod">
          <ac:chgData name="Jorge Costa" userId="6f0ed375-7d90-4a84-93f2-03ffaae48f30" providerId="ADAL" clId="{D711CBB1-0BD3-48F1-8236-238A8F9303FA}" dt="2023-12-13T18:14:24.061" v="2597" actId="20577"/>
          <ac:spMkLst>
            <pc:docMk/>
            <pc:sldMk cId="3953336687" sldId="2147375752"/>
            <ac:spMk id="18" creationId="{2DFDA6F5-9B4B-6556-3B36-1C525CD615F3}"/>
          </ac:spMkLst>
        </pc:spChg>
      </pc:sldChg>
      <pc:sldChg chg="addSp delSp modSp mod">
        <pc:chgData name="Jorge Costa" userId="6f0ed375-7d90-4a84-93f2-03ffaae48f30" providerId="ADAL" clId="{D711CBB1-0BD3-48F1-8236-238A8F9303FA}" dt="2023-12-13T18:17:23.924" v="3184" actId="14100"/>
        <pc:sldMkLst>
          <pc:docMk/>
          <pc:sldMk cId="1153576615" sldId="2147375801"/>
        </pc:sldMkLst>
        <pc:spChg chg="mod ord">
          <ac:chgData name="Jorge Costa" userId="6f0ed375-7d90-4a84-93f2-03ffaae48f30" providerId="ADAL" clId="{D711CBB1-0BD3-48F1-8236-238A8F9303FA}" dt="2023-12-13T18:16:03.211" v="3032" actId="948"/>
          <ac:spMkLst>
            <pc:docMk/>
            <pc:sldMk cId="1153576615" sldId="2147375801"/>
            <ac:spMk id="2" creationId="{BE21EF19-570C-C27F-0965-ADAAF432A93E}"/>
          </ac:spMkLst>
        </pc:spChg>
        <pc:spChg chg="add del mod modVis">
          <ac:chgData name="Jorge Costa" userId="6f0ed375-7d90-4a84-93f2-03ffaae48f30" providerId="ADAL" clId="{D711CBB1-0BD3-48F1-8236-238A8F9303FA}" dt="2023-12-13T15:26:09.983" v="1430"/>
          <ac:spMkLst>
            <pc:docMk/>
            <pc:sldMk cId="1153576615" sldId="2147375801"/>
            <ac:spMk id="3" creationId="{1D858B3E-AD9C-5FEB-C0D6-1480FBCA6D28}"/>
          </ac:spMkLst>
        </pc:spChg>
        <pc:spChg chg="mod ord">
          <ac:chgData name="Jorge Costa" userId="6f0ed375-7d90-4a84-93f2-03ffaae48f30" providerId="ADAL" clId="{D711CBB1-0BD3-48F1-8236-238A8F9303FA}" dt="2023-12-13T15:26:09.858" v="1015"/>
          <ac:spMkLst>
            <pc:docMk/>
            <pc:sldMk cId="1153576615" sldId="2147375801"/>
            <ac:spMk id="4" creationId="{837120CE-D8AA-F1EF-A594-34586C5BF255}"/>
          </ac:spMkLst>
        </pc:spChg>
        <pc:spChg chg="mod ord">
          <ac:chgData name="Jorge Costa" userId="6f0ed375-7d90-4a84-93f2-03ffaae48f30" providerId="ADAL" clId="{D711CBB1-0BD3-48F1-8236-238A8F9303FA}" dt="2023-12-13T15:26:09.858" v="1017"/>
          <ac:spMkLst>
            <pc:docMk/>
            <pc:sldMk cId="1153576615" sldId="2147375801"/>
            <ac:spMk id="5" creationId="{156E35B2-BBC4-AFCE-B79E-B8C16542F036}"/>
          </ac:spMkLst>
        </pc:spChg>
        <pc:spChg chg="mod">
          <ac:chgData name="Jorge Costa" userId="6f0ed375-7d90-4a84-93f2-03ffaae48f30" providerId="ADAL" clId="{D711CBB1-0BD3-48F1-8236-238A8F9303FA}" dt="2023-12-13T18:16:03.320" v="3163"/>
          <ac:spMkLst>
            <pc:docMk/>
            <pc:sldMk cId="1153576615" sldId="2147375801"/>
            <ac:spMk id="6" creationId="{8A94C884-EB84-776A-0BAF-0624AB532A29}"/>
          </ac:spMkLst>
        </pc:spChg>
        <pc:spChg chg="mod ord">
          <ac:chgData name="Jorge Costa" userId="6f0ed375-7d90-4a84-93f2-03ffaae48f30" providerId="ADAL" clId="{D711CBB1-0BD3-48F1-8236-238A8F9303FA}" dt="2023-12-13T15:26:09.858" v="1019"/>
          <ac:spMkLst>
            <pc:docMk/>
            <pc:sldMk cId="1153576615" sldId="2147375801"/>
            <ac:spMk id="8" creationId="{B5EF31F3-AC77-EF92-90FF-DF117A12C044}"/>
          </ac:spMkLst>
        </pc:spChg>
        <pc:spChg chg="mod ord">
          <ac:chgData name="Jorge Costa" userId="6f0ed375-7d90-4a84-93f2-03ffaae48f30" providerId="ADAL" clId="{D711CBB1-0BD3-48F1-8236-238A8F9303FA}" dt="2023-12-13T15:26:09.858" v="1021"/>
          <ac:spMkLst>
            <pc:docMk/>
            <pc:sldMk cId="1153576615" sldId="2147375801"/>
            <ac:spMk id="9" creationId="{9DFB4F71-D59F-3442-478F-8A0833A0DE6A}"/>
          </ac:spMkLst>
        </pc:spChg>
        <pc:spChg chg="mod">
          <ac:chgData name="Jorge Costa" userId="6f0ed375-7d90-4a84-93f2-03ffaae48f30" providerId="ADAL" clId="{D711CBB1-0BD3-48F1-8236-238A8F9303FA}" dt="2023-12-13T18:16:03.282" v="3105"/>
          <ac:spMkLst>
            <pc:docMk/>
            <pc:sldMk cId="1153576615" sldId="2147375801"/>
            <ac:spMk id="10" creationId="{DADD3565-64DD-F653-C998-617524C88A08}"/>
          </ac:spMkLst>
        </pc:spChg>
        <pc:spChg chg="mod">
          <ac:chgData name="Jorge Costa" userId="6f0ed375-7d90-4a84-93f2-03ffaae48f30" providerId="ADAL" clId="{D711CBB1-0BD3-48F1-8236-238A8F9303FA}" dt="2023-12-13T18:16:03.282" v="3106"/>
          <ac:spMkLst>
            <pc:docMk/>
            <pc:sldMk cId="1153576615" sldId="2147375801"/>
            <ac:spMk id="11" creationId="{9F19C169-97CA-DFBB-19E0-0567A9D58FD3}"/>
          </ac:spMkLst>
        </pc:spChg>
        <pc:spChg chg="mod">
          <ac:chgData name="Jorge Costa" userId="6f0ed375-7d90-4a84-93f2-03ffaae48f30" providerId="ADAL" clId="{D711CBB1-0BD3-48F1-8236-238A8F9303FA}" dt="2023-12-13T18:16:03.283" v="3107"/>
          <ac:spMkLst>
            <pc:docMk/>
            <pc:sldMk cId="1153576615" sldId="2147375801"/>
            <ac:spMk id="12" creationId="{B0A6D696-E8DB-020D-E8F1-5301A9ADEC43}"/>
          </ac:spMkLst>
        </pc:spChg>
        <pc:spChg chg="mod">
          <ac:chgData name="Jorge Costa" userId="6f0ed375-7d90-4a84-93f2-03ffaae48f30" providerId="ADAL" clId="{D711CBB1-0BD3-48F1-8236-238A8F9303FA}" dt="2023-12-13T18:16:03.284" v="3108"/>
          <ac:spMkLst>
            <pc:docMk/>
            <pc:sldMk cId="1153576615" sldId="2147375801"/>
            <ac:spMk id="13" creationId="{73B33549-F875-BDA6-F830-3ED5E8E78143}"/>
          </ac:spMkLst>
        </pc:spChg>
        <pc:spChg chg="mod">
          <ac:chgData name="Jorge Costa" userId="6f0ed375-7d90-4a84-93f2-03ffaae48f30" providerId="ADAL" clId="{D711CBB1-0BD3-48F1-8236-238A8F9303FA}" dt="2023-12-13T18:16:03.285" v="3109"/>
          <ac:spMkLst>
            <pc:docMk/>
            <pc:sldMk cId="1153576615" sldId="2147375801"/>
            <ac:spMk id="14" creationId="{260E6B27-0998-F967-3E53-57C8E1A4AFDE}"/>
          </ac:spMkLst>
        </pc:spChg>
        <pc:spChg chg="mod">
          <ac:chgData name="Jorge Costa" userId="6f0ed375-7d90-4a84-93f2-03ffaae48f30" providerId="ADAL" clId="{D711CBB1-0BD3-48F1-8236-238A8F9303FA}" dt="2023-12-13T18:16:03.285" v="3110"/>
          <ac:spMkLst>
            <pc:docMk/>
            <pc:sldMk cId="1153576615" sldId="2147375801"/>
            <ac:spMk id="15" creationId="{B09BCE92-2C95-E2FF-5846-E507D276EDE5}"/>
          </ac:spMkLst>
        </pc:spChg>
        <pc:spChg chg="mod">
          <ac:chgData name="Jorge Costa" userId="6f0ed375-7d90-4a84-93f2-03ffaae48f30" providerId="ADAL" clId="{D711CBB1-0BD3-48F1-8236-238A8F9303FA}" dt="2023-12-13T18:16:03.286" v="3111"/>
          <ac:spMkLst>
            <pc:docMk/>
            <pc:sldMk cId="1153576615" sldId="2147375801"/>
            <ac:spMk id="16" creationId="{9EA94B67-9617-4307-3CAF-3C390A1E3E92}"/>
          </ac:spMkLst>
        </pc:spChg>
        <pc:spChg chg="mod">
          <ac:chgData name="Jorge Costa" userId="6f0ed375-7d90-4a84-93f2-03ffaae48f30" providerId="ADAL" clId="{D711CBB1-0BD3-48F1-8236-238A8F9303FA}" dt="2023-12-13T18:16:03.286" v="3112"/>
          <ac:spMkLst>
            <pc:docMk/>
            <pc:sldMk cId="1153576615" sldId="2147375801"/>
            <ac:spMk id="17" creationId="{BB311B17-C01A-87A4-F6A5-D19F81B046C1}"/>
          </ac:spMkLst>
        </pc:spChg>
        <pc:spChg chg="mod">
          <ac:chgData name="Jorge Costa" userId="6f0ed375-7d90-4a84-93f2-03ffaae48f30" providerId="ADAL" clId="{D711CBB1-0BD3-48F1-8236-238A8F9303FA}" dt="2023-12-13T18:16:03.287" v="3113"/>
          <ac:spMkLst>
            <pc:docMk/>
            <pc:sldMk cId="1153576615" sldId="2147375801"/>
            <ac:spMk id="18" creationId="{B9369D99-86E7-6754-E84B-4B19687A4055}"/>
          </ac:spMkLst>
        </pc:spChg>
        <pc:spChg chg="mod">
          <ac:chgData name="Jorge Costa" userId="6f0ed375-7d90-4a84-93f2-03ffaae48f30" providerId="ADAL" clId="{D711CBB1-0BD3-48F1-8236-238A8F9303FA}" dt="2023-12-13T18:16:03.288" v="3114"/>
          <ac:spMkLst>
            <pc:docMk/>
            <pc:sldMk cId="1153576615" sldId="2147375801"/>
            <ac:spMk id="19" creationId="{83FF59E6-13BE-14E9-DBFB-53FD43F412BB}"/>
          </ac:spMkLst>
        </pc:spChg>
        <pc:spChg chg="mod">
          <ac:chgData name="Jorge Costa" userId="6f0ed375-7d90-4a84-93f2-03ffaae48f30" providerId="ADAL" clId="{D711CBB1-0BD3-48F1-8236-238A8F9303FA}" dt="2023-12-13T18:16:03.288" v="3115"/>
          <ac:spMkLst>
            <pc:docMk/>
            <pc:sldMk cId="1153576615" sldId="2147375801"/>
            <ac:spMk id="20" creationId="{71760971-C251-302F-92CD-3594EA706CCA}"/>
          </ac:spMkLst>
        </pc:spChg>
        <pc:spChg chg="mod">
          <ac:chgData name="Jorge Costa" userId="6f0ed375-7d90-4a84-93f2-03ffaae48f30" providerId="ADAL" clId="{D711CBB1-0BD3-48F1-8236-238A8F9303FA}" dt="2023-12-13T18:16:03.289" v="3117"/>
          <ac:spMkLst>
            <pc:docMk/>
            <pc:sldMk cId="1153576615" sldId="2147375801"/>
            <ac:spMk id="21" creationId="{70407586-EC3D-9E0E-0876-F7043FFDE6D6}"/>
          </ac:spMkLst>
        </pc:spChg>
        <pc:spChg chg="mod">
          <ac:chgData name="Jorge Costa" userId="6f0ed375-7d90-4a84-93f2-03ffaae48f30" providerId="ADAL" clId="{D711CBB1-0BD3-48F1-8236-238A8F9303FA}" dt="2023-12-13T18:16:03.291" v="3118"/>
          <ac:spMkLst>
            <pc:docMk/>
            <pc:sldMk cId="1153576615" sldId="2147375801"/>
            <ac:spMk id="22" creationId="{B42C536B-C963-1F9A-DE3B-18BFC857ADE0}"/>
          </ac:spMkLst>
        </pc:spChg>
        <pc:spChg chg="mod">
          <ac:chgData name="Jorge Costa" userId="6f0ed375-7d90-4a84-93f2-03ffaae48f30" providerId="ADAL" clId="{D711CBB1-0BD3-48F1-8236-238A8F9303FA}" dt="2023-12-13T18:16:03.291" v="3119"/>
          <ac:spMkLst>
            <pc:docMk/>
            <pc:sldMk cId="1153576615" sldId="2147375801"/>
            <ac:spMk id="23" creationId="{B9833737-7653-095F-6627-D29139397F37}"/>
          </ac:spMkLst>
        </pc:spChg>
        <pc:spChg chg="mod">
          <ac:chgData name="Jorge Costa" userId="6f0ed375-7d90-4a84-93f2-03ffaae48f30" providerId="ADAL" clId="{D711CBB1-0BD3-48F1-8236-238A8F9303FA}" dt="2023-12-13T18:16:03.292" v="3120"/>
          <ac:spMkLst>
            <pc:docMk/>
            <pc:sldMk cId="1153576615" sldId="2147375801"/>
            <ac:spMk id="24" creationId="{C1E6A596-3543-8F05-2C1E-9353BCB988BC}"/>
          </ac:spMkLst>
        </pc:spChg>
        <pc:spChg chg="mod">
          <ac:chgData name="Jorge Costa" userId="6f0ed375-7d90-4a84-93f2-03ffaae48f30" providerId="ADAL" clId="{D711CBB1-0BD3-48F1-8236-238A8F9303FA}" dt="2023-12-13T18:16:03.292" v="3121"/>
          <ac:spMkLst>
            <pc:docMk/>
            <pc:sldMk cId="1153576615" sldId="2147375801"/>
            <ac:spMk id="25" creationId="{55E7578B-D79B-84A0-41E4-4BBFCF2ABEDC}"/>
          </ac:spMkLst>
        </pc:spChg>
        <pc:spChg chg="mod">
          <ac:chgData name="Jorge Costa" userId="6f0ed375-7d90-4a84-93f2-03ffaae48f30" providerId="ADAL" clId="{D711CBB1-0BD3-48F1-8236-238A8F9303FA}" dt="2023-12-13T18:16:03.294" v="3122"/>
          <ac:spMkLst>
            <pc:docMk/>
            <pc:sldMk cId="1153576615" sldId="2147375801"/>
            <ac:spMk id="26" creationId="{1C99399F-DCB0-809F-EA89-FBCE9C7D09F0}"/>
          </ac:spMkLst>
        </pc:spChg>
        <pc:spChg chg="mod">
          <ac:chgData name="Jorge Costa" userId="6f0ed375-7d90-4a84-93f2-03ffaae48f30" providerId="ADAL" clId="{D711CBB1-0BD3-48F1-8236-238A8F9303FA}" dt="2023-12-13T18:16:03.294" v="3123"/>
          <ac:spMkLst>
            <pc:docMk/>
            <pc:sldMk cId="1153576615" sldId="2147375801"/>
            <ac:spMk id="27" creationId="{27AD783D-BADA-2AEF-509F-170F4BC39963}"/>
          </ac:spMkLst>
        </pc:spChg>
        <pc:spChg chg="mod">
          <ac:chgData name="Jorge Costa" userId="6f0ed375-7d90-4a84-93f2-03ffaae48f30" providerId="ADAL" clId="{D711CBB1-0BD3-48F1-8236-238A8F9303FA}" dt="2023-12-13T18:16:03.295" v="3124"/>
          <ac:spMkLst>
            <pc:docMk/>
            <pc:sldMk cId="1153576615" sldId="2147375801"/>
            <ac:spMk id="28" creationId="{CD16BB38-6F19-C706-219D-314BF3FC599D}"/>
          </ac:spMkLst>
        </pc:spChg>
        <pc:spChg chg="mod">
          <ac:chgData name="Jorge Costa" userId="6f0ed375-7d90-4a84-93f2-03ffaae48f30" providerId="ADAL" clId="{D711CBB1-0BD3-48F1-8236-238A8F9303FA}" dt="2023-12-13T18:16:03.295" v="3125"/>
          <ac:spMkLst>
            <pc:docMk/>
            <pc:sldMk cId="1153576615" sldId="2147375801"/>
            <ac:spMk id="29" creationId="{4FB63A61-07D0-A6BF-4A1B-421D44C82950}"/>
          </ac:spMkLst>
        </pc:spChg>
        <pc:spChg chg="mod">
          <ac:chgData name="Jorge Costa" userId="6f0ed375-7d90-4a84-93f2-03ffaae48f30" providerId="ADAL" clId="{D711CBB1-0BD3-48F1-8236-238A8F9303FA}" dt="2023-12-13T18:16:03.296" v="3126"/>
          <ac:spMkLst>
            <pc:docMk/>
            <pc:sldMk cId="1153576615" sldId="2147375801"/>
            <ac:spMk id="30" creationId="{A9E61E41-DA4C-C2FD-4145-934A3DE0A7CA}"/>
          </ac:spMkLst>
        </pc:spChg>
        <pc:spChg chg="mod">
          <ac:chgData name="Jorge Costa" userId="6f0ed375-7d90-4a84-93f2-03ffaae48f30" providerId="ADAL" clId="{D711CBB1-0BD3-48F1-8236-238A8F9303FA}" dt="2023-12-13T18:16:03.297" v="3127"/>
          <ac:spMkLst>
            <pc:docMk/>
            <pc:sldMk cId="1153576615" sldId="2147375801"/>
            <ac:spMk id="31" creationId="{127F9E5C-7D60-E10A-72BD-947181265C90}"/>
          </ac:spMkLst>
        </pc:spChg>
        <pc:spChg chg="mod">
          <ac:chgData name="Jorge Costa" userId="6f0ed375-7d90-4a84-93f2-03ffaae48f30" providerId="ADAL" clId="{D711CBB1-0BD3-48F1-8236-238A8F9303FA}" dt="2023-12-13T18:16:03.297" v="3128"/>
          <ac:spMkLst>
            <pc:docMk/>
            <pc:sldMk cId="1153576615" sldId="2147375801"/>
            <ac:spMk id="32" creationId="{2DF7FED5-0CF9-D309-8CAD-3AA110C66B69}"/>
          </ac:spMkLst>
        </pc:spChg>
        <pc:spChg chg="mod">
          <ac:chgData name="Jorge Costa" userId="6f0ed375-7d90-4a84-93f2-03ffaae48f30" providerId="ADAL" clId="{D711CBB1-0BD3-48F1-8236-238A8F9303FA}" dt="2023-12-13T18:16:03.298" v="3129"/>
          <ac:spMkLst>
            <pc:docMk/>
            <pc:sldMk cId="1153576615" sldId="2147375801"/>
            <ac:spMk id="33" creationId="{6322D276-8900-F343-9DB8-5F4DB34A6485}"/>
          </ac:spMkLst>
        </pc:spChg>
        <pc:spChg chg="mod">
          <ac:chgData name="Jorge Costa" userId="6f0ed375-7d90-4a84-93f2-03ffaae48f30" providerId="ADAL" clId="{D711CBB1-0BD3-48F1-8236-238A8F9303FA}" dt="2023-12-13T18:16:03.299" v="3130"/>
          <ac:spMkLst>
            <pc:docMk/>
            <pc:sldMk cId="1153576615" sldId="2147375801"/>
            <ac:spMk id="34" creationId="{2ABA4105-2BF5-406E-09BE-A243DF56CA8B}"/>
          </ac:spMkLst>
        </pc:spChg>
        <pc:spChg chg="mod">
          <ac:chgData name="Jorge Costa" userId="6f0ed375-7d90-4a84-93f2-03ffaae48f30" providerId="ADAL" clId="{D711CBB1-0BD3-48F1-8236-238A8F9303FA}" dt="2023-12-13T18:16:03.299" v="3131"/>
          <ac:spMkLst>
            <pc:docMk/>
            <pc:sldMk cId="1153576615" sldId="2147375801"/>
            <ac:spMk id="35" creationId="{3B27BF8D-5D11-05A7-D57A-78EBC6D40930}"/>
          </ac:spMkLst>
        </pc:spChg>
        <pc:spChg chg="mod">
          <ac:chgData name="Jorge Costa" userId="6f0ed375-7d90-4a84-93f2-03ffaae48f30" providerId="ADAL" clId="{D711CBB1-0BD3-48F1-8236-238A8F9303FA}" dt="2023-12-13T18:16:03.300" v="3132"/>
          <ac:spMkLst>
            <pc:docMk/>
            <pc:sldMk cId="1153576615" sldId="2147375801"/>
            <ac:spMk id="36" creationId="{BB3E1D5D-C3E9-76A1-60C2-16927A361FD3}"/>
          </ac:spMkLst>
        </pc:spChg>
        <pc:spChg chg="mod">
          <ac:chgData name="Jorge Costa" userId="6f0ed375-7d90-4a84-93f2-03ffaae48f30" providerId="ADAL" clId="{D711CBB1-0BD3-48F1-8236-238A8F9303FA}" dt="2023-12-13T18:16:03.301" v="3133"/>
          <ac:spMkLst>
            <pc:docMk/>
            <pc:sldMk cId="1153576615" sldId="2147375801"/>
            <ac:spMk id="37" creationId="{197D9211-C91A-79C4-0A29-5835ED664AFE}"/>
          </ac:spMkLst>
        </pc:spChg>
        <pc:spChg chg="mod">
          <ac:chgData name="Jorge Costa" userId="6f0ed375-7d90-4a84-93f2-03ffaae48f30" providerId="ADAL" clId="{D711CBB1-0BD3-48F1-8236-238A8F9303FA}" dt="2023-12-13T18:16:03.301" v="3134"/>
          <ac:spMkLst>
            <pc:docMk/>
            <pc:sldMk cId="1153576615" sldId="2147375801"/>
            <ac:spMk id="38" creationId="{E94D6CCD-E5FB-E22E-4839-C606EF3A93C4}"/>
          </ac:spMkLst>
        </pc:spChg>
        <pc:spChg chg="mod">
          <ac:chgData name="Jorge Costa" userId="6f0ed375-7d90-4a84-93f2-03ffaae48f30" providerId="ADAL" clId="{D711CBB1-0BD3-48F1-8236-238A8F9303FA}" dt="2023-12-13T18:16:03.302" v="3135"/>
          <ac:spMkLst>
            <pc:docMk/>
            <pc:sldMk cId="1153576615" sldId="2147375801"/>
            <ac:spMk id="39" creationId="{58960C70-9EE2-1DBC-322F-525356829C46}"/>
          </ac:spMkLst>
        </pc:spChg>
        <pc:spChg chg="mod">
          <ac:chgData name="Jorge Costa" userId="6f0ed375-7d90-4a84-93f2-03ffaae48f30" providerId="ADAL" clId="{D711CBB1-0BD3-48F1-8236-238A8F9303FA}" dt="2023-12-13T18:16:03.302" v="3136"/>
          <ac:spMkLst>
            <pc:docMk/>
            <pc:sldMk cId="1153576615" sldId="2147375801"/>
            <ac:spMk id="40" creationId="{AA64F5A1-847D-E54D-DE64-0A5DE979F76E}"/>
          </ac:spMkLst>
        </pc:spChg>
        <pc:spChg chg="mod">
          <ac:chgData name="Jorge Costa" userId="6f0ed375-7d90-4a84-93f2-03ffaae48f30" providerId="ADAL" clId="{D711CBB1-0BD3-48F1-8236-238A8F9303FA}" dt="2023-12-13T18:16:03.303" v="3137"/>
          <ac:spMkLst>
            <pc:docMk/>
            <pc:sldMk cId="1153576615" sldId="2147375801"/>
            <ac:spMk id="41" creationId="{A5D00357-B5E4-3DB3-F901-9B593820D0E2}"/>
          </ac:spMkLst>
        </pc:spChg>
        <pc:spChg chg="mod">
          <ac:chgData name="Jorge Costa" userId="6f0ed375-7d90-4a84-93f2-03ffaae48f30" providerId="ADAL" clId="{D711CBB1-0BD3-48F1-8236-238A8F9303FA}" dt="2023-12-13T18:16:03.304" v="3138"/>
          <ac:spMkLst>
            <pc:docMk/>
            <pc:sldMk cId="1153576615" sldId="2147375801"/>
            <ac:spMk id="42" creationId="{7F65D740-0241-5AE6-A063-ED643A7EFF9C}"/>
          </ac:spMkLst>
        </pc:spChg>
        <pc:spChg chg="mod">
          <ac:chgData name="Jorge Costa" userId="6f0ed375-7d90-4a84-93f2-03ffaae48f30" providerId="ADAL" clId="{D711CBB1-0BD3-48F1-8236-238A8F9303FA}" dt="2023-12-13T18:16:03.304" v="3139"/>
          <ac:spMkLst>
            <pc:docMk/>
            <pc:sldMk cId="1153576615" sldId="2147375801"/>
            <ac:spMk id="43" creationId="{C1DB0041-2EDF-BC99-F073-AD04E829BE1E}"/>
          </ac:spMkLst>
        </pc:spChg>
        <pc:spChg chg="mod">
          <ac:chgData name="Jorge Costa" userId="6f0ed375-7d90-4a84-93f2-03ffaae48f30" providerId="ADAL" clId="{D711CBB1-0BD3-48F1-8236-238A8F9303FA}" dt="2023-12-13T18:16:03.305" v="3140"/>
          <ac:spMkLst>
            <pc:docMk/>
            <pc:sldMk cId="1153576615" sldId="2147375801"/>
            <ac:spMk id="44" creationId="{5F67EF46-5F05-B74A-8F6C-F480BBA431A7}"/>
          </ac:spMkLst>
        </pc:spChg>
        <pc:spChg chg="mod">
          <ac:chgData name="Jorge Costa" userId="6f0ed375-7d90-4a84-93f2-03ffaae48f30" providerId="ADAL" clId="{D711CBB1-0BD3-48F1-8236-238A8F9303FA}" dt="2023-12-13T18:16:03.305" v="3141"/>
          <ac:spMkLst>
            <pc:docMk/>
            <pc:sldMk cId="1153576615" sldId="2147375801"/>
            <ac:spMk id="45" creationId="{2174AD16-2195-4742-7E52-2E73CF3DCDBE}"/>
          </ac:spMkLst>
        </pc:spChg>
        <pc:spChg chg="mod">
          <ac:chgData name="Jorge Costa" userId="6f0ed375-7d90-4a84-93f2-03ffaae48f30" providerId="ADAL" clId="{D711CBB1-0BD3-48F1-8236-238A8F9303FA}" dt="2023-12-13T18:16:03.306" v="3142"/>
          <ac:spMkLst>
            <pc:docMk/>
            <pc:sldMk cId="1153576615" sldId="2147375801"/>
            <ac:spMk id="46" creationId="{1A348670-4A81-F6D0-19E3-F7B2D265F775}"/>
          </ac:spMkLst>
        </pc:spChg>
        <pc:spChg chg="mod">
          <ac:chgData name="Jorge Costa" userId="6f0ed375-7d90-4a84-93f2-03ffaae48f30" providerId="ADAL" clId="{D711CBB1-0BD3-48F1-8236-238A8F9303FA}" dt="2023-12-13T18:16:03.307" v="3143"/>
          <ac:spMkLst>
            <pc:docMk/>
            <pc:sldMk cId="1153576615" sldId="2147375801"/>
            <ac:spMk id="47" creationId="{ED5A6D35-861F-B455-EE4E-893E5C980B19}"/>
          </ac:spMkLst>
        </pc:spChg>
        <pc:spChg chg="mod">
          <ac:chgData name="Jorge Costa" userId="6f0ed375-7d90-4a84-93f2-03ffaae48f30" providerId="ADAL" clId="{D711CBB1-0BD3-48F1-8236-238A8F9303FA}" dt="2023-12-13T18:16:03.307" v="3144"/>
          <ac:spMkLst>
            <pc:docMk/>
            <pc:sldMk cId="1153576615" sldId="2147375801"/>
            <ac:spMk id="48" creationId="{A66E0497-7321-F487-4FEB-A440D6AD75CD}"/>
          </ac:spMkLst>
        </pc:spChg>
        <pc:spChg chg="mod">
          <ac:chgData name="Jorge Costa" userId="6f0ed375-7d90-4a84-93f2-03ffaae48f30" providerId="ADAL" clId="{D711CBB1-0BD3-48F1-8236-238A8F9303FA}" dt="2023-12-13T18:16:03.308" v="3145"/>
          <ac:spMkLst>
            <pc:docMk/>
            <pc:sldMk cId="1153576615" sldId="2147375801"/>
            <ac:spMk id="49" creationId="{E9BEE94C-E6BF-DDD6-237D-0E192AA14808}"/>
          </ac:spMkLst>
        </pc:spChg>
        <pc:spChg chg="mod">
          <ac:chgData name="Jorge Costa" userId="6f0ed375-7d90-4a84-93f2-03ffaae48f30" providerId="ADAL" clId="{D711CBB1-0BD3-48F1-8236-238A8F9303FA}" dt="2023-12-13T18:16:03.308" v="3146"/>
          <ac:spMkLst>
            <pc:docMk/>
            <pc:sldMk cId="1153576615" sldId="2147375801"/>
            <ac:spMk id="50" creationId="{981936E5-7436-75DC-28F0-7B1C1CA14D1A}"/>
          </ac:spMkLst>
        </pc:spChg>
        <pc:spChg chg="mod">
          <ac:chgData name="Jorge Costa" userId="6f0ed375-7d90-4a84-93f2-03ffaae48f30" providerId="ADAL" clId="{D711CBB1-0BD3-48F1-8236-238A8F9303FA}" dt="2023-12-13T18:16:03.309" v="3147"/>
          <ac:spMkLst>
            <pc:docMk/>
            <pc:sldMk cId="1153576615" sldId="2147375801"/>
            <ac:spMk id="51" creationId="{534BD4BD-F63A-9F95-7B21-DB3AC7B7759A}"/>
          </ac:spMkLst>
        </pc:spChg>
        <pc:spChg chg="mod">
          <ac:chgData name="Jorge Costa" userId="6f0ed375-7d90-4a84-93f2-03ffaae48f30" providerId="ADAL" clId="{D711CBB1-0BD3-48F1-8236-238A8F9303FA}" dt="2023-12-13T18:16:03.310" v="3148"/>
          <ac:spMkLst>
            <pc:docMk/>
            <pc:sldMk cId="1153576615" sldId="2147375801"/>
            <ac:spMk id="52" creationId="{4EC47D91-AF28-30A8-EE21-61A4847F9864}"/>
          </ac:spMkLst>
        </pc:spChg>
        <pc:spChg chg="mod">
          <ac:chgData name="Jorge Costa" userId="6f0ed375-7d90-4a84-93f2-03ffaae48f30" providerId="ADAL" clId="{D711CBB1-0BD3-48F1-8236-238A8F9303FA}" dt="2023-12-13T18:16:03.310" v="3149"/>
          <ac:spMkLst>
            <pc:docMk/>
            <pc:sldMk cId="1153576615" sldId="2147375801"/>
            <ac:spMk id="53" creationId="{0A5CA914-A23B-0F29-F519-9088B10B8A07}"/>
          </ac:spMkLst>
        </pc:spChg>
        <pc:spChg chg="mod">
          <ac:chgData name="Jorge Costa" userId="6f0ed375-7d90-4a84-93f2-03ffaae48f30" providerId="ADAL" clId="{D711CBB1-0BD3-48F1-8236-238A8F9303FA}" dt="2023-12-13T18:16:03.311" v="3150"/>
          <ac:spMkLst>
            <pc:docMk/>
            <pc:sldMk cId="1153576615" sldId="2147375801"/>
            <ac:spMk id="54" creationId="{465760F3-B410-8752-EE7F-1AD68F63CB0F}"/>
          </ac:spMkLst>
        </pc:spChg>
        <pc:spChg chg="mod">
          <ac:chgData name="Jorge Costa" userId="6f0ed375-7d90-4a84-93f2-03ffaae48f30" providerId="ADAL" clId="{D711CBB1-0BD3-48F1-8236-238A8F9303FA}" dt="2023-12-13T18:16:03.311" v="3151"/>
          <ac:spMkLst>
            <pc:docMk/>
            <pc:sldMk cId="1153576615" sldId="2147375801"/>
            <ac:spMk id="55" creationId="{73689384-BEA1-C6B0-7B70-D5B6B37AEB70}"/>
          </ac:spMkLst>
        </pc:spChg>
        <pc:spChg chg="mod">
          <ac:chgData name="Jorge Costa" userId="6f0ed375-7d90-4a84-93f2-03ffaae48f30" providerId="ADAL" clId="{D711CBB1-0BD3-48F1-8236-238A8F9303FA}" dt="2023-12-13T18:16:03.312" v="3152"/>
          <ac:spMkLst>
            <pc:docMk/>
            <pc:sldMk cId="1153576615" sldId="2147375801"/>
            <ac:spMk id="56" creationId="{601D9277-75BF-56B5-FE6E-1822E13F5B2E}"/>
          </ac:spMkLst>
        </pc:spChg>
        <pc:spChg chg="mod">
          <ac:chgData name="Jorge Costa" userId="6f0ed375-7d90-4a84-93f2-03ffaae48f30" providerId="ADAL" clId="{D711CBB1-0BD3-48F1-8236-238A8F9303FA}" dt="2023-12-13T18:16:03.312" v="3153"/>
          <ac:spMkLst>
            <pc:docMk/>
            <pc:sldMk cId="1153576615" sldId="2147375801"/>
            <ac:spMk id="57" creationId="{139A9566-ACA5-E151-1EC7-C1975BED2916}"/>
          </ac:spMkLst>
        </pc:spChg>
        <pc:spChg chg="mod">
          <ac:chgData name="Jorge Costa" userId="6f0ed375-7d90-4a84-93f2-03ffaae48f30" providerId="ADAL" clId="{D711CBB1-0BD3-48F1-8236-238A8F9303FA}" dt="2023-12-13T18:16:03.312" v="3154"/>
          <ac:spMkLst>
            <pc:docMk/>
            <pc:sldMk cId="1153576615" sldId="2147375801"/>
            <ac:spMk id="58" creationId="{34294F75-2BF8-803F-B1FE-CCD8A3D81980}"/>
          </ac:spMkLst>
        </pc:spChg>
        <pc:spChg chg="mod">
          <ac:chgData name="Jorge Costa" userId="6f0ed375-7d90-4a84-93f2-03ffaae48f30" providerId="ADAL" clId="{D711CBB1-0BD3-48F1-8236-238A8F9303FA}" dt="2023-12-13T18:16:03.314" v="3155"/>
          <ac:spMkLst>
            <pc:docMk/>
            <pc:sldMk cId="1153576615" sldId="2147375801"/>
            <ac:spMk id="59" creationId="{F1F92DED-2DDF-CD36-78F9-7D36BC64F216}"/>
          </ac:spMkLst>
        </pc:spChg>
        <pc:spChg chg="mod">
          <ac:chgData name="Jorge Costa" userId="6f0ed375-7d90-4a84-93f2-03ffaae48f30" providerId="ADAL" clId="{D711CBB1-0BD3-48F1-8236-238A8F9303FA}" dt="2023-12-13T18:16:03.315" v="3156"/>
          <ac:spMkLst>
            <pc:docMk/>
            <pc:sldMk cId="1153576615" sldId="2147375801"/>
            <ac:spMk id="60" creationId="{80EDDB9E-80BE-A4E7-921E-DE9A60F6367C}"/>
          </ac:spMkLst>
        </pc:spChg>
        <pc:spChg chg="mod">
          <ac:chgData name="Jorge Costa" userId="6f0ed375-7d90-4a84-93f2-03ffaae48f30" providerId="ADAL" clId="{D711CBB1-0BD3-48F1-8236-238A8F9303FA}" dt="2023-12-13T18:16:03.316" v="3157"/>
          <ac:spMkLst>
            <pc:docMk/>
            <pc:sldMk cId="1153576615" sldId="2147375801"/>
            <ac:spMk id="61" creationId="{2E27B4DE-8219-903E-2AFA-FB820035B2E8}"/>
          </ac:spMkLst>
        </pc:spChg>
        <pc:spChg chg="mod">
          <ac:chgData name="Jorge Costa" userId="6f0ed375-7d90-4a84-93f2-03ffaae48f30" providerId="ADAL" clId="{D711CBB1-0BD3-48F1-8236-238A8F9303FA}" dt="2023-12-13T18:16:03.316" v="3158"/>
          <ac:spMkLst>
            <pc:docMk/>
            <pc:sldMk cId="1153576615" sldId="2147375801"/>
            <ac:spMk id="62" creationId="{32E4F4EE-B898-212B-911E-3AD7E30A0BAF}"/>
          </ac:spMkLst>
        </pc:spChg>
        <pc:spChg chg="mod">
          <ac:chgData name="Jorge Costa" userId="6f0ed375-7d90-4a84-93f2-03ffaae48f30" providerId="ADAL" clId="{D711CBB1-0BD3-48F1-8236-238A8F9303FA}" dt="2023-12-13T18:16:03.317" v="3159"/>
          <ac:spMkLst>
            <pc:docMk/>
            <pc:sldMk cId="1153576615" sldId="2147375801"/>
            <ac:spMk id="63" creationId="{A4579D33-9274-EE32-F85E-C7AC5B762479}"/>
          </ac:spMkLst>
        </pc:spChg>
        <pc:spChg chg="mod">
          <ac:chgData name="Jorge Costa" userId="6f0ed375-7d90-4a84-93f2-03ffaae48f30" providerId="ADAL" clId="{D711CBB1-0BD3-48F1-8236-238A8F9303FA}" dt="2023-12-13T18:16:03.318" v="3160"/>
          <ac:spMkLst>
            <pc:docMk/>
            <pc:sldMk cId="1153576615" sldId="2147375801"/>
            <ac:spMk id="64" creationId="{B2E230B9-249A-A7B9-04DF-B6EE4D033968}"/>
          </ac:spMkLst>
        </pc:spChg>
        <pc:spChg chg="mod">
          <ac:chgData name="Jorge Costa" userId="6f0ed375-7d90-4a84-93f2-03ffaae48f30" providerId="ADAL" clId="{D711CBB1-0BD3-48F1-8236-238A8F9303FA}" dt="2023-12-13T18:16:03.319" v="3161"/>
          <ac:spMkLst>
            <pc:docMk/>
            <pc:sldMk cId="1153576615" sldId="2147375801"/>
            <ac:spMk id="65" creationId="{2FBA09A4-4F80-DFD1-07A6-18BFE8A23362}"/>
          </ac:spMkLst>
        </pc:spChg>
        <pc:spChg chg="mod">
          <ac:chgData name="Jorge Costa" userId="6f0ed375-7d90-4a84-93f2-03ffaae48f30" providerId="ADAL" clId="{D711CBB1-0BD3-48F1-8236-238A8F9303FA}" dt="2023-12-13T18:16:03.319" v="3162"/>
          <ac:spMkLst>
            <pc:docMk/>
            <pc:sldMk cId="1153576615" sldId="2147375801"/>
            <ac:spMk id="66" creationId="{0F5BA2E1-F877-6AEA-E7E5-4A4DDA6B567A}"/>
          </ac:spMkLst>
        </pc:spChg>
        <pc:spChg chg="mod ord">
          <ac:chgData name="Jorge Costa" userId="6f0ed375-7d90-4a84-93f2-03ffaae48f30" providerId="ADAL" clId="{D711CBB1-0BD3-48F1-8236-238A8F9303FA}" dt="2023-12-13T15:26:09.914" v="1213"/>
          <ac:spMkLst>
            <pc:docMk/>
            <pc:sldMk cId="1153576615" sldId="2147375801"/>
            <ac:spMk id="130" creationId="{29DA7E26-579B-6413-63AD-0202A32865CD}"/>
          </ac:spMkLst>
        </pc:spChg>
        <pc:spChg chg="mod ord">
          <ac:chgData name="Jorge Costa" userId="6f0ed375-7d90-4a84-93f2-03ffaae48f30" providerId="ADAL" clId="{D711CBB1-0BD3-48F1-8236-238A8F9303FA}" dt="2023-12-13T15:26:09.923" v="1221"/>
          <ac:spMkLst>
            <pc:docMk/>
            <pc:sldMk cId="1153576615" sldId="2147375801"/>
            <ac:spMk id="131" creationId="{72C86229-0E5F-A425-3180-2E85CA11C247}"/>
          </ac:spMkLst>
        </pc:spChg>
        <pc:spChg chg="mod ord">
          <ac:chgData name="Jorge Costa" userId="6f0ed375-7d90-4a84-93f2-03ffaae48f30" providerId="ADAL" clId="{D711CBB1-0BD3-48F1-8236-238A8F9303FA}" dt="2023-12-13T15:26:09.914" v="1215"/>
          <ac:spMkLst>
            <pc:docMk/>
            <pc:sldMk cId="1153576615" sldId="2147375801"/>
            <ac:spMk id="132" creationId="{B9DAC29B-F272-D3C7-1AA5-D008469AAB49}"/>
          </ac:spMkLst>
        </pc:spChg>
        <pc:spChg chg="mod ord">
          <ac:chgData name="Jorge Costa" userId="6f0ed375-7d90-4a84-93f2-03ffaae48f30" providerId="ADAL" clId="{D711CBB1-0BD3-48F1-8236-238A8F9303FA}" dt="2023-12-13T18:15:34.230" v="2953"/>
          <ac:spMkLst>
            <pc:docMk/>
            <pc:sldMk cId="1153576615" sldId="2147375801"/>
            <ac:spMk id="133" creationId="{C175C043-FF19-02B4-6AF1-35F72847ED54}"/>
          </ac:spMkLst>
        </pc:spChg>
        <pc:spChg chg="mod ord">
          <ac:chgData name="Jorge Costa" userId="6f0ed375-7d90-4a84-93f2-03ffaae48f30" providerId="ADAL" clId="{D711CBB1-0BD3-48F1-8236-238A8F9303FA}" dt="2023-12-13T15:26:09.923" v="1219"/>
          <ac:spMkLst>
            <pc:docMk/>
            <pc:sldMk cId="1153576615" sldId="2147375801"/>
            <ac:spMk id="134" creationId="{86210A8B-1F54-E426-24F9-5FCAB58E8952}"/>
          </ac:spMkLst>
        </pc:spChg>
        <pc:spChg chg="mod ord">
          <ac:chgData name="Jorge Costa" userId="6f0ed375-7d90-4a84-93f2-03ffaae48f30" providerId="ADAL" clId="{D711CBB1-0BD3-48F1-8236-238A8F9303FA}" dt="2023-12-13T15:26:09.923" v="1223"/>
          <ac:spMkLst>
            <pc:docMk/>
            <pc:sldMk cId="1153576615" sldId="2147375801"/>
            <ac:spMk id="135" creationId="{4142561D-B72D-1091-CEF7-2CEBCB0839FB}"/>
          </ac:spMkLst>
        </pc:spChg>
        <pc:spChg chg="mod ord">
          <ac:chgData name="Jorge Costa" userId="6f0ed375-7d90-4a84-93f2-03ffaae48f30" providerId="ADAL" clId="{D711CBB1-0BD3-48F1-8236-238A8F9303FA}" dt="2023-12-13T15:26:09.925" v="1229"/>
          <ac:spMkLst>
            <pc:docMk/>
            <pc:sldMk cId="1153576615" sldId="2147375801"/>
            <ac:spMk id="136" creationId="{7E39812D-6864-6917-2461-BF357490F61A}"/>
          </ac:spMkLst>
        </pc:spChg>
        <pc:spChg chg="mod ord">
          <ac:chgData name="Jorge Costa" userId="6f0ed375-7d90-4a84-93f2-03ffaae48f30" providerId="ADAL" clId="{D711CBB1-0BD3-48F1-8236-238A8F9303FA}" dt="2023-12-13T15:26:09.923" v="1225"/>
          <ac:spMkLst>
            <pc:docMk/>
            <pc:sldMk cId="1153576615" sldId="2147375801"/>
            <ac:spMk id="137" creationId="{D2B3499E-5C7E-0625-74E4-8332E8D875C0}"/>
          </ac:spMkLst>
        </pc:spChg>
        <pc:spChg chg="mod ord">
          <ac:chgData name="Jorge Costa" userId="6f0ed375-7d90-4a84-93f2-03ffaae48f30" providerId="ADAL" clId="{D711CBB1-0BD3-48F1-8236-238A8F9303FA}" dt="2023-12-13T15:26:09.925" v="1231"/>
          <ac:spMkLst>
            <pc:docMk/>
            <pc:sldMk cId="1153576615" sldId="2147375801"/>
            <ac:spMk id="138" creationId="{D8B33271-7859-6513-D4E4-4A51E7DAEA02}"/>
          </ac:spMkLst>
        </pc:spChg>
        <pc:spChg chg="mod ord">
          <ac:chgData name="Jorge Costa" userId="6f0ed375-7d90-4a84-93f2-03ffaae48f30" providerId="ADAL" clId="{D711CBB1-0BD3-48F1-8236-238A8F9303FA}" dt="2023-12-13T18:16:03.274" v="3092"/>
          <ac:spMkLst>
            <pc:docMk/>
            <pc:sldMk cId="1153576615" sldId="2147375801"/>
            <ac:spMk id="139" creationId="{3BA9B1C5-B998-75B0-25E9-879971A60F24}"/>
          </ac:spMkLst>
        </pc:spChg>
        <pc:spChg chg="mod ord">
          <ac:chgData name="Jorge Costa" userId="6f0ed375-7d90-4a84-93f2-03ffaae48f30" providerId="ADAL" clId="{D711CBB1-0BD3-48F1-8236-238A8F9303FA}" dt="2023-12-13T15:26:09.925" v="1233"/>
          <ac:spMkLst>
            <pc:docMk/>
            <pc:sldMk cId="1153576615" sldId="2147375801"/>
            <ac:spMk id="140" creationId="{4F1F6DFC-459E-7DA4-8445-ACFC1D4C8AFB}"/>
          </ac:spMkLst>
        </pc:spChg>
        <pc:spChg chg="mod ord">
          <ac:chgData name="Jorge Costa" userId="6f0ed375-7d90-4a84-93f2-03ffaae48f30" providerId="ADAL" clId="{D711CBB1-0BD3-48F1-8236-238A8F9303FA}" dt="2023-12-13T15:26:09.925" v="1243"/>
          <ac:spMkLst>
            <pc:docMk/>
            <pc:sldMk cId="1153576615" sldId="2147375801"/>
            <ac:spMk id="141" creationId="{1432AAA0-37F5-7CBB-CF47-92B0AAE1C038}"/>
          </ac:spMkLst>
        </pc:spChg>
        <pc:spChg chg="mod ord">
          <ac:chgData name="Jorge Costa" userId="6f0ed375-7d90-4a84-93f2-03ffaae48f30" providerId="ADAL" clId="{D711CBB1-0BD3-48F1-8236-238A8F9303FA}" dt="2023-12-13T15:26:09.925" v="1239"/>
          <ac:spMkLst>
            <pc:docMk/>
            <pc:sldMk cId="1153576615" sldId="2147375801"/>
            <ac:spMk id="142" creationId="{2F8E1CC8-956A-0BAF-FAE0-00A2DE5ACF91}"/>
          </ac:spMkLst>
        </pc:spChg>
        <pc:spChg chg="mod ord">
          <ac:chgData name="Jorge Costa" userId="6f0ed375-7d90-4a84-93f2-03ffaae48f30" providerId="ADAL" clId="{D711CBB1-0BD3-48F1-8236-238A8F9303FA}" dt="2023-12-13T15:26:09.925" v="1235"/>
          <ac:spMkLst>
            <pc:docMk/>
            <pc:sldMk cId="1153576615" sldId="2147375801"/>
            <ac:spMk id="143" creationId="{B3D00F8A-615F-BA28-8995-473235AEB0C6}"/>
          </ac:spMkLst>
        </pc:spChg>
        <pc:spChg chg="mod ord">
          <ac:chgData name="Jorge Costa" userId="6f0ed375-7d90-4a84-93f2-03ffaae48f30" providerId="ADAL" clId="{D711CBB1-0BD3-48F1-8236-238A8F9303FA}" dt="2023-12-13T15:26:09.925" v="1237"/>
          <ac:spMkLst>
            <pc:docMk/>
            <pc:sldMk cId="1153576615" sldId="2147375801"/>
            <ac:spMk id="144" creationId="{E10E3E32-C709-42DF-2945-A78A20B9E03B}"/>
          </ac:spMkLst>
        </pc:spChg>
        <pc:spChg chg="mod ord">
          <ac:chgData name="Jorge Costa" userId="6f0ed375-7d90-4a84-93f2-03ffaae48f30" providerId="ADAL" clId="{D711CBB1-0BD3-48F1-8236-238A8F9303FA}" dt="2023-12-13T15:26:09.925" v="1241"/>
          <ac:spMkLst>
            <pc:docMk/>
            <pc:sldMk cId="1153576615" sldId="2147375801"/>
            <ac:spMk id="145" creationId="{DEE057F4-3A1F-D159-299D-8398B072F3B8}"/>
          </ac:spMkLst>
        </pc:spChg>
        <pc:spChg chg="mod ord">
          <ac:chgData name="Jorge Costa" userId="6f0ed375-7d90-4a84-93f2-03ffaae48f30" providerId="ADAL" clId="{D711CBB1-0BD3-48F1-8236-238A8F9303FA}" dt="2023-12-13T15:26:09.925" v="1245"/>
          <ac:spMkLst>
            <pc:docMk/>
            <pc:sldMk cId="1153576615" sldId="2147375801"/>
            <ac:spMk id="146" creationId="{B48E0E11-4A98-8749-4BEF-1E94F340E96B}"/>
          </ac:spMkLst>
        </pc:spChg>
        <pc:spChg chg="mod ord">
          <ac:chgData name="Jorge Costa" userId="6f0ed375-7d90-4a84-93f2-03ffaae48f30" providerId="ADAL" clId="{D711CBB1-0BD3-48F1-8236-238A8F9303FA}" dt="2023-12-13T18:15:34.182" v="2949"/>
          <ac:spMkLst>
            <pc:docMk/>
            <pc:sldMk cId="1153576615" sldId="2147375801"/>
            <ac:spMk id="147" creationId="{349FAA3B-6A26-6474-E40D-6B8FF5D5635C}"/>
          </ac:spMkLst>
        </pc:spChg>
        <pc:spChg chg="mod ord">
          <ac:chgData name="Jorge Costa" userId="6f0ed375-7d90-4a84-93f2-03ffaae48f30" providerId="ADAL" clId="{D711CBB1-0BD3-48F1-8236-238A8F9303FA}" dt="2023-12-13T18:15:34.077" v="2941"/>
          <ac:spMkLst>
            <pc:docMk/>
            <pc:sldMk cId="1153576615" sldId="2147375801"/>
            <ac:spMk id="148" creationId="{5203DDC0-4353-190F-F56F-D0FB67A9D244}"/>
          </ac:spMkLst>
        </pc:spChg>
        <pc:spChg chg="mod ord">
          <ac:chgData name="Jorge Costa" userId="6f0ed375-7d90-4a84-93f2-03ffaae48f30" providerId="ADAL" clId="{D711CBB1-0BD3-48F1-8236-238A8F9303FA}" dt="2023-12-13T15:26:09.925" v="1251"/>
          <ac:spMkLst>
            <pc:docMk/>
            <pc:sldMk cId="1153576615" sldId="2147375801"/>
            <ac:spMk id="149" creationId="{6CF3F443-833A-5B83-0B28-AA2F9088BF91}"/>
          </ac:spMkLst>
        </pc:spChg>
        <pc:spChg chg="mod ord">
          <ac:chgData name="Jorge Costa" userId="6f0ed375-7d90-4a84-93f2-03ffaae48f30" providerId="ADAL" clId="{D711CBB1-0BD3-48F1-8236-238A8F9303FA}" dt="2023-12-13T18:16:03.271" v="3088"/>
          <ac:spMkLst>
            <pc:docMk/>
            <pc:sldMk cId="1153576615" sldId="2147375801"/>
            <ac:spMk id="150" creationId="{1B9DCB6A-75E3-0963-CF44-398D59CAF688}"/>
          </ac:spMkLst>
        </pc:spChg>
        <pc:spChg chg="mod ord">
          <ac:chgData name="Jorge Costa" userId="6f0ed375-7d90-4a84-93f2-03ffaae48f30" providerId="ADAL" clId="{D711CBB1-0BD3-48F1-8236-238A8F9303FA}" dt="2023-12-13T15:26:09.932" v="1259"/>
          <ac:spMkLst>
            <pc:docMk/>
            <pc:sldMk cId="1153576615" sldId="2147375801"/>
            <ac:spMk id="151" creationId="{7FF65685-34EA-F790-AB19-CC0F2139C124}"/>
          </ac:spMkLst>
        </pc:spChg>
        <pc:spChg chg="mod ord">
          <ac:chgData name="Jorge Costa" userId="6f0ed375-7d90-4a84-93f2-03ffaae48f30" providerId="ADAL" clId="{D711CBB1-0BD3-48F1-8236-238A8F9303FA}" dt="2023-12-13T15:26:09.931" v="1255"/>
          <ac:spMkLst>
            <pc:docMk/>
            <pc:sldMk cId="1153576615" sldId="2147375801"/>
            <ac:spMk id="152" creationId="{A0CC70A7-4092-EC00-2DA5-47B7FBF6B289}"/>
          </ac:spMkLst>
        </pc:spChg>
        <pc:spChg chg="mod ord">
          <ac:chgData name="Jorge Costa" userId="6f0ed375-7d90-4a84-93f2-03ffaae48f30" providerId="ADAL" clId="{D711CBB1-0BD3-48F1-8236-238A8F9303FA}" dt="2023-12-13T15:26:09.932" v="1257"/>
          <ac:spMkLst>
            <pc:docMk/>
            <pc:sldMk cId="1153576615" sldId="2147375801"/>
            <ac:spMk id="153" creationId="{334E83CB-F292-2E46-4D64-40EF3C474D8E}"/>
          </ac:spMkLst>
        </pc:spChg>
        <pc:spChg chg="mod ord">
          <ac:chgData name="Jorge Costa" userId="6f0ed375-7d90-4a84-93f2-03ffaae48f30" providerId="ADAL" clId="{D711CBB1-0BD3-48F1-8236-238A8F9303FA}" dt="2023-12-13T15:26:09.933" v="1261"/>
          <ac:spMkLst>
            <pc:docMk/>
            <pc:sldMk cId="1153576615" sldId="2147375801"/>
            <ac:spMk id="154" creationId="{A1003381-0FBB-C41C-B23B-3EB48C716C8B}"/>
          </ac:spMkLst>
        </pc:spChg>
        <pc:spChg chg="mod ord">
          <ac:chgData name="Jorge Costa" userId="6f0ed375-7d90-4a84-93f2-03ffaae48f30" providerId="ADAL" clId="{D711CBB1-0BD3-48F1-8236-238A8F9303FA}" dt="2023-12-13T15:26:09.933" v="1265"/>
          <ac:spMkLst>
            <pc:docMk/>
            <pc:sldMk cId="1153576615" sldId="2147375801"/>
            <ac:spMk id="155" creationId="{389CC9FA-C0C6-FC77-7E95-7B1C40D339FA}"/>
          </ac:spMkLst>
        </pc:spChg>
        <pc:spChg chg="mod ord">
          <ac:chgData name="Jorge Costa" userId="6f0ed375-7d90-4a84-93f2-03ffaae48f30" providerId="ADAL" clId="{D711CBB1-0BD3-48F1-8236-238A8F9303FA}" dt="2023-12-13T15:26:09.933" v="1267"/>
          <ac:spMkLst>
            <pc:docMk/>
            <pc:sldMk cId="1153576615" sldId="2147375801"/>
            <ac:spMk id="156" creationId="{28F7A878-3788-1264-7064-9FFF1C114C32}"/>
          </ac:spMkLst>
        </pc:spChg>
        <pc:spChg chg="mod ord">
          <ac:chgData name="Jorge Costa" userId="6f0ed375-7d90-4a84-93f2-03ffaae48f30" providerId="ADAL" clId="{D711CBB1-0BD3-48F1-8236-238A8F9303FA}" dt="2023-12-13T15:26:09.933" v="1263"/>
          <ac:spMkLst>
            <pc:docMk/>
            <pc:sldMk cId="1153576615" sldId="2147375801"/>
            <ac:spMk id="157" creationId="{9DC6D15E-91DD-D1A5-282D-CC6E6A946EE1}"/>
          </ac:spMkLst>
        </pc:spChg>
        <pc:spChg chg="mod">
          <ac:chgData name="Jorge Costa" userId="6f0ed375-7d90-4a84-93f2-03ffaae48f30" providerId="ADAL" clId="{D711CBB1-0BD3-48F1-8236-238A8F9303FA}" dt="2023-12-13T18:15:27.802" v="2798"/>
          <ac:spMkLst>
            <pc:docMk/>
            <pc:sldMk cId="1153576615" sldId="2147375801"/>
            <ac:spMk id="158" creationId="{E3638EAB-B523-9500-7004-E195BD60CBAC}"/>
          </ac:spMkLst>
        </pc:spChg>
        <pc:spChg chg="mod">
          <ac:chgData name="Jorge Costa" userId="6f0ed375-7d90-4a84-93f2-03ffaae48f30" providerId="ADAL" clId="{D711CBB1-0BD3-48F1-8236-238A8F9303FA}" dt="2023-12-13T15:26:09.935" v="1269"/>
          <ac:spMkLst>
            <pc:docMk/>
            <pc:sldMk cId="1153576615" sldId="2147375801"/>
            <ac:spMk id="159" creationId="{90DE5764-8CAE-0956-E899-053828BC1968}"/>
          </ac:spMkLst>
        </pc:spChg>
        <pc:spChg chg="mod">
          <ac:chgData name="Jorge Costa" userId="6f0ed375-7d90-4a84-93f2-03ffaae48f30" providerId="ADAL" clId="{D711CBB1-0BD3-48F1-8236-238A8F9303FA}" dt="2023-12-13T15:26:09.935" v="1268"/>
          <ac:spMkLst>
            <pc:docMk/>
            <pc:sldMk cId="1153576615" sldId="2147375801"/>
            <ac:spMk id="160" creationId="{4F43C02C-3CC4-2D7A-2DA3-879F09B90914}"/>
          </ac:spMkLst>
        </pc:spChg>
        <pc:spChg chg="mod">
          <ac:chgData name="Jorge Costa" userId="6f0ed375-7d90-4a84-93f2-03ffaae48f30" providerId="ADAL" clId="{D711CBB1-0BD3-48F1-8236-238A8F9303FA}" dt="2023-12-13T18:15:27.806" v="2802"/>
          <ac:spMkLst>
            <pc:docMk/>
            <pc:sldMk cId="1153576615" sldId="2147375801"/>
            <ac:spMk id="161" creationId="{0A26A93A-EEF4-CEB2-F154-1403EFD54A15}"/>
          </ac:spMkLst>
        </pc:spChg>
        <pc:spChg chg="mod ord">
          <ac:chgData name="Jorge Costa" userId="6f0ed375-7d90-4a84-93f2-03ffaae48f30" providerId="ADAL" clId="{D711CBB1-0BD3-48F1-8236-238A8F9303FA}" dt="2023-12-13T15:26:09.935" v="1273"/>
          <ac:spMkLst>
            <pc:docMk/>
            <pc:sldMk cId="1153576615" sldId="2147375801"/>
            <ac:spMk id="162" creationId="{0AC69BE5-024B-4434-2281-69F0DC001A8C}"/>
          </ac:spMkLst>
        </pc:spChg>
        <pc:spChg chg="mod ord">
          <ac:chgData name="Jorge Costa" userId="6f0ed375-7d90-4a84-93f2-03ffaae48f30" providerId="ADAL" clId="{D711CBB1-0BD3-48F1-8236-238A8F9303FA}" dt="2023-12-13T18:15:27.813" v="2808"/>
          <ac:spMkLst>
            <pc:docMk/>
            <pc:sldMk cId="1153576615" sldId="2147375801"/>
            <ac:spMk id="163" creationId="{F83672C5-2BFB-6ABE-77E4-1916FD132BC5}"/>
          </ac:spMkLst>
        </pc:spChg>
        <pc:spChg chg="mod ord">
          <ac:chgData name="Jorge Costa" userId="6f0ed375-7d90-4a84-93f2-03ffaae48f30" providerId="ADAL" clId="{D711CBB1-0BD3-48F1-8236-238A8F9303FA}" dt="2023-12-13T15:26:09.935" v="1279"/>
          <ac:spMkLst>
            <pc:docMk/>
            <pc:sldMk cId="1153576615" sldId="2147375801"/>
            <ac:spMk id="164" creationId="{A32F3C98-7CE1-3AD5-0520-90C2CB397BB3}"/>
          </ac:spMkLst>
        </pc:spChg>
        <pc:spChg chg="mod ord">
          <ac:chgData name="Jorge Costa" userId="6f0ed375-7d90-4a84-93f2-03ffaae48f30" providerId="ADAL" clId="{D711CBB1-0BD3-48F1-8236-238A8F9303FA}" dt="2023-12-13T15:26:09.935" v="1283"/>
          <ac:spMkLst>
            <pc:docMk/>
            <pc:sldMk cId="1153576615" sldId="2147375801"/>
            <ac:spMk id="166" creationId="{E4E19E28-1B3D-6EEF-A381-CE4A2820EB41}"/>
          </ac:spMkLst>
        </pc:spChg>
        <pc:spChg chg="mod ord">
          <ac:chgData name="Jorge Costa" userId="6f0ed375-7d90-4a84-93f2-03ffaae48f30" providerId="ADAL" clId="{D711CBB1-0BD3-48F1-8236-238A8F9303FA}" dt="2023-12-13T15:26:09.935" v="1281"/>
          <ac:spMkLst>
            <pc:docMk/>
            <pc:sldMk cId="1153576615" sldId="2147375801"/>
            <ac:spMk id="167" creationId="{7E0D6B80-0463-733D-921F-12B6CF781963}"/>
          </ac:spMkLst>
        </pc:spChg>
        <pc:spChg chg="mod ord">
          <ac:chgData name="Jorge Costa" userId="6f0ed375-7d90-4a84-93f2-03ffaae48f30" providerId="ADAL" clId="{D711CBB1-0BD3-48F1-8236-238A8F9303FA}" dt="2023-12-13T15:26:09.935" v="1285"/>
          <ac:spMkLst>
            <pc:docMk/>
            <pc:sldMk cId="1153576615" sldId="2147375801"/>
            <ac:spMk id="168" creationId="{09FB6A66-D9BA-AA29-6388-B9403AC31515}"/>
          </ac:spMkLst>
        </pc:spChg>
        <pc:spChg chg="mod ord">
          <ac:chgData name="Jorge Costa" userId="6f0ed375-7d90-4a84-93f2-03ffaae48f30" providerId="ADAL" clId="{D711CBB1-0BD3-48F1-8236-238A8F9303FA}" dt="2023-12-13T15:26:09.935" v="1287"/>
          <ac:spMkLst>
            <pc:docMk/>
            <pc:sldMk cId="1153576615" sldId="2147375801"/>
            <ac:spMk id="169" creationId="{9544B3CF-0D35-A3FE-3D40-1A03C5D80A14}"/>
          </ac:spMkLst>
        </pc:spChg>
        <pc:spChg chg="mod ord">
          <ac:chgData name="Jorge Costa" userId="6f0ed375-7d90-4a84-93f2-03ffaae48f30" providerId="ADAL" clId="{D711CBB1-0BD3-48F1-8236-238A8F9303FA}" dt="2023-12-13T15:26:09.935" v="1289"/>
          <ac:spMkLst>
            <pc:docMk/>
            <pc:sldMk cId="1153576615" sldId="2147375801"/>
            <ac:spMk id="170" creationId="{6B7D2B51-8B48-9FE9-574E-E805AFD6FEBD}"/>
          </ac:spMkLst>
        </pc:spChg>
        <pc:spChg chg="mod ord">
          <ac:chgData name="Jorge Costa" userId="6f0ed375-7d90-4a84-93f2-03ffaae48f30" providerId="ADAL" clId="{D711CBB1-0BD3-48F1-8236-238A8F9303FA}" dt="2023-12-13T15:26:09.935" v="1295"/>
          <ac:spMkLst>
            <pc:docMk/>
            <pc:sldMk cId="1153576615" sldId="2147375801"/>
            <ac:spMk id="171" creationId="{E474789B-60E3-3662-3F53-604A562BCAD6}"/>
          </ac:spMkLst>
        </pc:spChg>
        <pc:spChg chg="mod ord">
          <ac:chgData name="Jorge Costa" userId="6f0ed375-7d90-4a84-93f2-03ffaae48f30" providerId="ADAL" clId="{D711CBB1-0BD3-48F1-8236-238A8F9303FA}" dt="2023-12-13T15:26:09.935" v="1293"/>
          <ac:spMkLst>
            <pc:docMk/>
            <pc:sldMk cId="1153576615" sldId="2147375801"/>
            <ac:spMk id="172" creationId="{AAA546B4-9B07-84AA-5FEA-82E42E63D84E}"/>
          </ac:spMkLst>
        </pc:spChg>
        <pc:spChg chg="mod ord">
          <ac:chgData name="Jorge Costa" userId="6f0ed375-7d90-4a84-93f2-03ffaae48f30" providerId="ADAL" clId="{D711CBB1-0BD3-48F1-8236-238A8F9303FA}" dt="2023-12-13T18:15:34.299" v="2961"/>
          <ac:spMkLst>
            <pc:docMk/>
            <pc:sldMk cId="1153576615" sldId="2147375801"/>
            <ac:spMk id="173" creationId="{F4AEE105-9B71-0CB1-831A-1EDB89A83E85}"/>
          </ac:spMkLst>
        </pc:spChg>
        <pc:spChg chg="mod ord">
          <ac:chgData name="Jorge Costa" userId="6f0ed375-7d90-4a84-93f2-03ffaae48f30" providerId="ADAL" clId="{D711CBB1-0BD3-48F1-8236-238A8F9303FA}" dt="2023-12-13T15:26:09.943" v="1297"/>
          <ac:spMkLst>
            <pc:docMk/>
            <pc:sldMk cId="1153576615" sldId="2147375801"/>
            <ac:spMk id="174" creationId="{9FC3E839-21E3-88BF-6C37-F52BEDD17A3B}"/>
          </ac:spMkLst>
        </pc:spChg>
        <pc:spChg chg="mod ord">
          <ac:chgData name="Jorge Costa" userId="6f0ed375-7d90-4a84-93f2-03ffaae48f30" providerId="ADAL" clId="{D711CBB1-0BD3-48F1-8236-238A8F9303FA}" dt="2023-12-13T15:26:09.943" v="1301"/>
          <ac:spMkLst>
            <pc:docMk/>
            <pc:sldMk cId="1153576615" sldId="2147375801"/>
            <ac:spMk id="175" creationId="{92744EA8-F595-691D-D02A-2B5D0D535903}"/>
          </ac:spMkLst>
        </pc:spChg>
        <pc:spChg chg="mod ord">
          <ac:chgData name="Jorge Costa" userId="6f0ed375-7d90-4a84-93f2-03ffaae48f30" providerId="ADAL" clId="{D711CBB1-0BD3-48F1-8236-238A8F9303FA}" dt="2023-12-13T18:16:03.278" v="3100"/>
          <ac:spMkLst>
            <pc:docMk/>
            <pc:sldMk cId="1153576615" sldId="2147375801"/>
            <ac:spMk id="176" creationId="{CB7C49BD-4ABE-752E-2ED9-1D952798A2B6}"/>
          </ac:spMkLst>
        </pc:spChg>
        <pc:spChg chg="mod ord">
          <ac:chgData name="Jorge Costa" userId="6f0ed375-7d90-4a84-93f2-03ffaae48f30" providerId="ADAL" clId="{D711CBB1-0BD3-48F1-8236-238A8F9303FA}" dt="2023-12-13T15:26:09.943" v="1303"/>
          <ac:spMkLst>
            <pc:docMk/>
            <pc:sldMk cId="1153576615" sldId="2147375801"/>
            <ac:spMk id="177" creationId="{479DB760-DAEC-1BDA-C733-E31B38BC2766}"/>
          </ac:spMkLst>
        </pc:spChg>
        <pc:spChg chg="mod">
          <ac:chgData name="Jorge Costa" userId="6f0ed375-7d90-4a84-93f2-03ffaae48f30" providerId="ADAL" clId="{D711CBB1-0BD3-48F1-8236-238A8F9303FA}" dt="2023-12-13T18:16:03.226" v="3051"/>
          <ac:spMkLst>
            <pc:docMk/>
            <pc:sldMk cId="1153576615" sldId="2147375801"/>
            <ac:spMk id="183" creationId="{9A9BAA1F-09D7-8B1E-B1C5-8DEBF668C775}"/>
          </ac:spMkLst>
        </pc:spChg>
        <pc:spChg chg="mod">
          <ac:chgData name="Jorge Costa" userId="6f0ed375-7d90-4a84-93f2-03ffaae48f30" providerId="ADAL" clId="{D711CBB1-0BD3-48F1-8236-238A8F9303FA}" dt="2023-12-13T18:16:03.227" v="3052"/>
          <ac:spMkLst>
            <pc:docMk/>
            <pc:sldMk cId="1153576615" sldId="2147375801"/>
            <ac:spMk id="184" creationId="{F2104CF6-917A-3790-F6A4-8B782ABB8B05}"/>
          </ac:spMkLst>
        </pc:spChg>
        <pc:spChg chg="mod ord">
          <ac:chgData name="Jorge Costa" userId="6f0ed375-7d90-4a84-93f2-03ffaae48f30" providerId="ADAL" clId="{D711CBB1-0BD3-48F1-8236-238A8F9303FA}" dt="2023-12-13T18:16:03.239" v="3070" actId="948"/>
          <ac:spMkLst>
            <pc:docMk/>
            <pc:sldMk cId="1153576615" sldId="2147375801"/>
            <ac:spMk id="185" creationId="{884C5348-C0BA-0E7E-71BE-DE93859ADEA4}"/>
          </ac:spMkLst>
        </pc:spChg>
        <pc:spChg chg="mod">
          <ac:chgData name="Jorge Costa" userId="6f0ed375-7d90-4a84-93f2-03ffaae48f30" providerId="ADAL" clId="{D711CBB1-0BD3-48F1-8236-238A8F9303FA}" dt="2023-12-13T18:16:03.217" v="3037"/>
          <ac:spMkLst>
            <pc:docMk/>
            <pc:sldMk cId="1153576615" sldId="2147375801"/>
            <ac:spMk id="186" creationId="{C02ED413-D73D-078C-C2D9-00BD92DF0B2A}"/>
          </ac:spMkLst>
        </pc:spChg>
        <pc:spChg chg="mod">
          <ac:chgData name="Jorge Costa" userId="6f0ed375-7d90-4a84-93f2-03ffaae48f30" providerId="ADAL" clId="{D711CBB1-0BD3-48F1-8236-238A8F9303FA}" dt="2023-12-13T18:16:03.218" v="3038"/>
          <ac:spMkLst>
            <pc:docMk/>
            <pc:sldMk cId="1153576615" sldId="2147375801"/>
            <ac:spMk id="187" creationId="{D21FB80C-5AD7-9078-4926-B81CDC480187}"/>
          </ac:spMkLst>
        </pc:spChg>
        <pc:spChg chg="mod">
          <ac:chgData name="Jorge Costa" userId="6f0ed375-7d90-4a84-93f2-03ffaae48f30" providerId="ADAL" clId="{D711CBB1-0BD3-48F1-8236-238A8F9303FA}" dt="2023-12-13T18:16:03.226" v="3050"/>
          <ac:spMkLst>
            <pc:docMk/>
            <pc:sldMk cId="1153576615" sldId="2147375801"/>
            <ac:spMk id="188" creationId="{97DE0388-736F-CBBC-257B-1FDC16371A7D}"/>
          </ac:spMkLst>
        </pc:spChg>
        <pc:spChg chg="mod ord">
          <ac:chgData name="Jorge Costa" userId="6f0ed375-7d90-4a84-93f2-03ffaae48f30" providerId="ADAL" clId="{D711CBB1-0BD3-48F1-8236-238A8F9303FA}" dt="2023-12-13T18:16:03.240" v="3071" actId="948"/>
          <ac:spMkLst>
            <pc:docMk/>
            <pc:sldMk cId="1153576615" sldId="2147375801"/>
            <ac:spMk id="189" creationId="{035EB6C1-6AB4-1702-B7AF-330E6F55C49B}"/>
          </ac:spMkLst>
        </pc:spChg>
        <pc:spChg chg="mod">
          <ac:chgData name="Jorge Costa" userId="6f0ed375-7d90-4a84-93f2-03ffaae48f30" providerId="ADAL" clId="{D711CBB1-0BD3-48F1-8236-238A8F9303FA}" dt="2023-12-13T18:16:03.225" v="3049"/>
          <ac:spMkLst>
            <pc:docMk/>
            <pc:sldMk cId="1153576615" sldId="2147375801"/>
            <ac:spMk id="190" creationId="{51FA6609-19DE-1228-FD6B-EE84C0678B7A}"/>
          </ac:spMkLst>
        </pc:spChg>
        <pc:spChg chg="mod ord">
          <ac:chgData name="Jorge Costa" userId="6f0ed375-7d90-4a84-93f2-03ffaae48f30" providerId="ADAL" clId="{D711CBB1-0BD3-48F1-8236-238A8F9303FA}" dt="2023-12-13T18:16:03.246" v="3084" actId="948"/>
          <ac:spMkLst>
            <pc:docMk/>
            <pc:sldMk cId="1153576615" sldId="2147375801"/>
            <ac:spMk id="191" creationId="{C4C8E55C-E0BA-35C8-2092-6BA71F140229}"/>
          </ac:spMkLst>
        </pc:spChg>
        <pc:spChg chg="mod">
          <ac:chgData name="Jorge Costa" userId="6f0ed375-7d90-4a84-93f2-03ffaae48f30" providerId="ADAL" clId="{D711CBB1-0BD3-48F1-8236-238A8F9303FA}" dt="2023-12-13T18:16:03.219" v="3039"/>
          <ac:spMkLst>
            <pc:docMk/>
            <pc:sldMk cId="1153576615" sldId="2147375801"/>
            <ac:spMk id="192" creationId="{0627B7B6-BB7C-81FB-6E6C-6FFF10135AE7}"/>
          </ac:spMkLst>
        </pc:spChg>
        <pc:spChg chg="mod">
          <ac:chgData name="Jorge Costa" userId="6f0ed375-7d90-4a84-93f2-03ffaae48f30" providerId="ADAL" clId="{D711CBB1-0BD3-48F1-8236-238A8F9303FA}" dt="2023-12-13T18:16:03.219" v="3040"/>
          <ac:spMkLst>
            <pc:docMk/>
            <pc:sldMk cId="1153576615" sldId="2147375801"/>
            <ac:spMk id="193" creationId="{4598ACE7-E4E8-C946-66FB-465A8A425F05}"/>
          </ac:spMkLst>
        </pc:spChg>
        <pc:spChg chg="mod ord">
          <ac:chgData name="Jorge Costa" userId="6f0ed375-7d90-4a84-93f2-03ffaae48f30" providerId="ADAL" clId="{D711CBB1-0BD3-48F1-8236-238A8F9303FA}" dt="2023-12-13T18:16:03.241" v="3074" actId="948"/>
          <ac:spMkLst>
            <pc:docMk/>
            <pc:sldMk cId="1153576615" sldId="2147375801"/>
            <ac:spMk id="194" creationId="{ACE3B69E-3DE9-CDF2-958F-770A00666A54}"/>
          </ac:spMkLst>
        </pc:spChg>
        <pc:spChg chg="mod ord">
          <ac:chgData name="Jorge Costa" userId="6f0ed375-7d90-4a84-93f2-03ffaae48f30" providerId="ADAL" clId="{D711CBB1-0BD3-48F1-8236-238A8F9303FA}" dt="2023-12-13T18:16:03.242" v="3075" actId="948"/>
          <ac:spMkLst>
            <pc:docMk/>
            <pc:sldMk cId="1153576615" sldId="2147375801"/>
            <ac:spMk id="195" creationId="{06B387D1-3A97-B219-3F48-927C5D2A1ADF}"/>
          </ac:spMkLst>
        </pc:spChg>
        <pc:spChg chg="mod ord">
          <ac:chgData name="Jorge Costa" userId="6f0ed375-7d90-4a84-93f2-03ffaae48f30" providerId="ADAL" clId="{D711CBB1-0BD3-48F1-8236-238A8F9303FA}" dt="2023-12-13T18:16:03.239" v="3069" actId="948"/>
          <ac:spMkLst>
            <pc:docMk/>
            <pc:sldMk cId="1153576615" sldId="2147375801"/>
            <ac:spMk id="196" creationId="{51C43697-72F2-C1F4-ABE8-F94FC6487388}"/>
          </ac:spMkLst>
        </pc:spChg>
        <pc:spChg chg="mod ord">
          <ac:chgData name="Jorge Costa" userId="6f0ed375-7d90-4a84-93f2-03ffaae48f30" providerId="ADAL" clId="{D711CBB1-0BD3-48F1-8236-238A8F9303FA}" dt="2023-12-13T18:16:03.242" v="3076" actId="948"/>
          <ac:spMkLst>
            <pc:docMk/>
            <pc:sldMk cId="1153576615" sldId="2147375801"/>
            <ac:spMk id="197" creationId="{A784FDA2-C8C4-895A-B9AF-D100D475D14F}"/>
          </ac:spMkLst>
        </pc:spChg>
        <pc:spChg chg="mod ord">
          <ac:chgData name="Jorge Costa" userId="6f0ed375-7d90-4a84-93f2-03ffaae48f30" providerId="ADAL" clId="{D711CBB1-0BD3-48F1-8236-238A8F9303FA}" dt="2023-12-13T18:16:03.242" v="3077" actId="948"/>
          <ac:spMkLst>
            <pc:docMk/>
            <pc:sldMk cId="1153576615" sldId="2147375801"/>
            <ac:spMk id="198" creationId="{2BCE3631-1361-98FD-A51E-07F966FF261B}"/>
          </ac:spMkLst>
        </pc:spChg>
        <pc:spChg chg="mod ord">
          <ac:chgData name="Jorge Costa" userId="6f0ed375-7d90-4a84-93f2-03ffaae48f30" providerId="ADAL" clId="{D711CBB1-0BD3-48F1-8236-238A8F9303FA}" dt="2023-12-13T18:16:03.240" v="3072" actId="948"/>
          <ac:spMkLst>
            <pc:docMk/>
            <pc:sldMk cId="1153576615" sldId="2147375801"/>
            <ac:spMk id="199" creationId="{2C8608AF-7A34-9CCB-03CF-6D48C9D9C635}"/>
          </ac:spMkLst>
        </pc:spChg>
        <pc:spChg chg="mod ord">
          <ac:chgData name="Jorge Costa" userId="6f0ed375-7d90-4a84-93f2-03ffaae48f30" providerId="ADAL" clId="{D711CBB1-0BD3-48F1-8236-238A8F9303FA}" dt="2023-12-13T18:16:03.241" v="3073" actId="948"/>
          <ac:spMkLst>
            <pc:docMk/>
            <pc:sldMk cId="1153576615" sldId="2147375801"/>
            <ac:spMk id="200" creationId="{FB0A17AC-9CAF-81D0-4776-C6F21AFDD656}"/>
          </ac:spMkLst>
        </pc:spChg>
        <pc:spChg chg="mod">
          <ac:chgData name="Jorge Costa" userId="6f0ed375-7d90-4a84-93f2-03ffaae48f30" providerId="ADAL" clId="{D711CBB1-0BD3-48F1-8236-238A8F9303FA}" dt="2023-12-13T18:16:03.220" v="3041"/>
          <ac:spMkLst>
            <pc:docMk/>
            <pc:sldMk cId="1153576615" sldId="2147375801"/>
            <ac:spMk id="201" creationId="{70AE1997-CEFA-0550-09B2-AC30B60C99BB}"/>
          </ac:spMkLst>
        </pc:spChg>
        <pc:spChg chg="mod">
          <ac:chgData name="Jorge Costa" userId="6f0ed375-7d90-4a84-93f2-03ffaae48f30" providerId="ADAL" clId="{D711CBB1-0BD3-48F1-8236-238A8F9303FA}" dt="2023-12-13T18:16:03.220" v="3042"/>
          <ac:spMkLst>
            <pc:docMk/>
            <pc:sldMk cId="1153576615" sldId="2147375801"/>
            <ac:spMk id="202" creationId="{441CDD02-7FF6-4D52-4E60-FE9D1E60F9E8}"/>
          </ac:spMkLst>
        </pc:spChg>
        <pc:spChg chg="mod ord">
          <ac:chgData name="Jorge Costa" userId="6f0ed375-7d90-4a84-93f2-03ffaae48f30" providerId="ADAL" clId="{D711CBB1-0BD3-48F1-8236-238A8F9303FA}" dt="2023-12-13T18:16:03.242" v="3078" actId="948"/>
          <ac:spMkLst>
            <pc:docMk/>
            <pc:sldMk cId="1153576615" sldId="2147375801"/>
            <ac:spMk id="203" creationId="{629C854D-0B31-D4C4-452B-089A7007C9AD}"/>
          </ac:spMkLst>
        </pc:spChg>
        <pc:spChg chg="mod ord">
          <ac:chgData name="Jorge Costa" userId="6f0ed375-7d90-4a84-93f2-03ffaae48f30" providerId="ADAL" clId="{D711CBB1-0BD3-48F1-8236-238A8F9303FA}" dt="2023-12-13T18:16:03.238" v="3068" actId="948"/>
          <ac:spMkLst>
            <pc:docMk/>
            <pc:sldMk cId="1153576615" sldId="2147375801"/>
            <ac:spMk id="204" creationId="{EDEF86AF-0172-CF69-A7A5-7C3A847A440A}"/>
          </ac:spMkLst>
        </pc:spChg>
        <pc:spChg chg="mod ord">
          <ac:chgData name="Jorge Costa" userId="6f0ed375-7d90-4a84-93f2-03ffaae48f30" providerId="ADAL" clId="{D711CBB1-0BD3-48F1-8236-238A8F9303FA}" dt="2023-12-13T18:16:03.244" v="3079" actId="948"/>
          <ac:spMkLst>
            <pc:docMk/>
            <pc:sldMk cId="1153576615" sldId="2147375801"/>
            <ac:spMk id="205" creationId="{85681A62-662B-7928-3D27-1F9E4F39041C}"/>
          </ac:spMkLst>
        </pc:spChg>
        <pc:spChg chg="mod">
          <ac:chgData name="Jorge Costa" userId="6f0ed375-7d90-4a84-93f2-03ffaae48f30" providerId="ADAL" clId="{D711CBB1-0BD3-48F1-8236-238A8F9303FA}" dt="2023-12-13T18:16:03.234" v="3060"/>
          <ac:spMkLst>
            <pc:docMk/>
            <pc:sldMk cId="1153576615" sldId="2147375801"/>
            <ac:spMk id="206" creationId="{2B79506E-A8E7-FBD6-A537-ABF52EB1D5F2}"/>
          </ac:spMkLst>
        </pc:spChg>
        <pc:spChg chg="mod">
          <ac:chgData name="Jorge Costa" userId="6f0ed375-7d90-4a84-93f2-03ffaae48f30" providerId="ADAL" clId="{D711CBB1-0BD3-48F1-8236-238A8F9303FA}" dt="2023-12-13T18:16:03.234" v="3061"/>
          <ac:spMkLst>
            <pc:docMk/>
            <pc:sldMk cId="1153576615" sldId="2147375801"/>
            <ac:spMk id="207" creationId="{3097D361-17F4-7D66-C491-B7628D2B1622}"/>
          </ac:spMkLst>
        </pc:spChg>
        <pc:spChg chg="mod">
          <ac:chgData name="Jorge Costa" userId="6f0ed375-7d90-4a84-93f2-03ffaae48f30" providerId="ADAL" clId="{D711CBB1-0BD3-48F1-8236-238A8F9303FA}" dt="2023-12-13T18:16:03.214" v="3033"/>
          <ac:spMkLst>
            <pc:docMk/>
            <pc:sldMk cId="1153576615" sldId="2147375801"/>
            <ac:spMk id="208" creationId="{1AA41FED-03C5-BC83-D312-32674460613E}"/>
          </ac:spMkLst>
        </pc:spChg>
        <pc:spChg chg="mod">
          <ac:chgData name="Jorge Costa" userId="6f0ed375-7d90-4a84-93f2-03ffaae48f30" providerId="ADAL" clId="{D711CBB1-0BD3-48F1-8236-238A8F9303FA}" dt="2023-12-13T18:16:03.221" v="3043"/>
          <ac:spMkLst>
            <pc:docMk/>
            <pc:sldMk cId="1153576615" sldId="2147375801"/>
            <ac:spMk id="209" creationId="{88D7C035-6697-6B57-302F-DD1DE4C2CCED}"/>
          </ac:spMkLst>
        </pc:spChg>
        <pc:spChg chg="mod">
          <ac:chgData name="Jorge Costa" userId="6f0ed375-7d90-4a84-93f2-03ffaae48f30" providerId="ADAL" clId="{D711CBB1-0BD3-48F1-8236-238A8F9303FA}" dt="2023-12-13T18:16:03.222" v="3044"/>
          <ac:spMkLst>
            <pc:docMk/>
            <pc:sldMk cId="1153576615" sldId="2147375801"/>
            <ac:spMk id="210" creationId="{E3A33267-C59E-A49C-FF23-016C73D2BED7}"/>
          </ac:spMkLst>
        </pc:spChg>
        <pc:spChg chg="mod">
          <ac:chgData name="Jorge Costa" userId="6f0ed375-7d90-4a84-93f2-03ffaae48f30" providerId="ADAL" clId="{D711CBB1-0BD3-48F1-8236-238A8F9303FA}" dt="2023-12-13T18:16:03.230" v="3054"/>
          <ac:spMkLst>
            <pc:docMk/>
            <pc:sldMk cId="1153576615" sldId="2147375801"/>
            <ac:spMk id="211" creationId="{F15E9EEF-0633-10F9-4247-238B0C3EC814}"/>
          </ac:spMkLst>
        </pc:spChg>
        <pc:spChg chg="mod">
          <ac:chgData name="Jorge Costa" userId="6f0ed375-7d90-4a84-93f2-03ffaae48f30" providerId="ADAL" clId="{D711CBB1-0BD3-48F1-8236-238A8F9303FA}" dt="2023-12-13T18:16:03.230" v="3055"/>
          <ac:spMkLst>
            <pc:docMk/>
            <pc:sldMk cId="1153576615" sldId="2147375801"/>
            <ac:spMk id="212" creationId="{75FFA771-5672-4EDD-86DB-1B3D70C6F7C3}"/>
          </ac:spMkLst>
        </pc:spChg>
        <pc:spChg chg="mod ord">
          <ac:chgData name="Jorge Costa" userId="6f0ed375-7d90-4a84-93f2-03ffaae48f30" providerId="ADAL" clId="{D711CBB1-0BD3-48F1-8236-238A8F9303FA}" dt="2023-12-13T18:16:03.237" v="3066" actId="948"/>
          <ac:spMkLst>
            <pc:docMk/>
            <pc:sldMk cId="1153576615" sldId="2147375801"/>
            <ac:spMk id="213" creationId="{096B65FE-535D-F854-B06F-15F002AD215E}"/>
          </ac:spMkLst>
        </pc:spChg>
        <pc:spChg chg="mod">
          <ac:chgData name="Jorge Costa" userId="6f0ed375-7d90-4a84-93f2-03ffaae48f30" providerId="ADAL" clId="{D711CBB1-0BD3-48F1-8236-238A8F9303FA}" dt="2023-12-13T18:16:03.217" v="3036"/>
          <ac:spMkLst>
            <pc:docMk/>
            <pc:sldMk cId="1153576615" sldId="2147375801"/>
            <ac:spMk id="214" creationId="{C6644BF3-FEF7-1F40-4852-D5F5CACFFBBD}"/>
          </ac:spMkLst>
        </pc:spChg>
        <pc:spChg chg="mod">
          <ac:chgData name="Jorge Costa" userId="6f0ed375-7d90-4a84-93f2-03ffaae48f30" providerId="ADAL" clId="{D711CBB1-0BD3-48F1-8236-238A8F9303FA}" dt="2023-12-13T18:16:03.223" v="3045"/>
          <ac:spMkLst>
            <pc:docMk/>
            <pc:sldMk cId="1153576615" sldId="2147375801"/>
            <ac:spMk id="215" creationId="{036710C5-7AFD-D9FD-3415-6C5B5857493D}"/>
          </ac:spMkLst>
        </pc:spChg>
        <pc:spChg chg="mod">
          <ac:chgData name="Jorge Costa" userId="6f0ed375-7d90-4a84-93f2-03ffaae48f30" providerId="ADAL" clId="{D711CBB1-0BD3-48F1-8236-238A8F9303FA}" dt="2023-12-13T18:16:03.224" v="3046"/>
          <ac:spMkLst>
            <pc:docMk/>
            <pc:sldMk cId="1153576615" sldId="2147375801"/>
            <ac:spMk id="216" creationId="{E8379A6A-EC3B-5D77-DFDC-9CE9117ECF9C}"/>
          </ac:spMkLst>
        </pc:spChg>
        <pc:spChg chg="mod">
          <ac:chgData name="Jorge Costa" userId="6f0ed375-7d90-4a84-93f2-03ffaae48f30" providerId="ADAL" clId="{D711CBB1-0BD3-48F1-8236-238A8F9303FA}" dt="2023-12-13T18:16:03.216" v="3035"/>
          <ac:spMkLst>
            <pc:docMk/>
            <pc:sldMk cId="1153576615" sldId="2147375801"/>
            <ac:spMk id="217" creationId="{6761600B-1A54-7531-364B-B8CE8C5A35B2}"/>
          </ac:spMkLst>
        </pc:spChg>
        <pc:spChg chg="mod">
          <ac:chgData name="Jorge Costa" userId="6f0ed375-7d90-4a84-93f2-03ffaae48f30" providerId="ADAL" clId="{D711CBB1-0BD3-48F1-8236-238A8F9303FA}" dt="2023-12-13T18:16:03.231" v="3057"/>
          <ac:spMkLst>
            <pc:docMk/>
            <pc:sldMk cId="1153576615" sldId="2147375801"/>
            <ac:spMk id="218" creationId="{C1E93EA5-D967-8B4C-9762-07C5172A76A0}"/>
          </ac:spMkLst>
        </pc:spChg>
        <pc:spChg chg="mod ord">
          <ac:chgData name="Jorge Costa" userId="6f0ed375-7d90-4a84-93f2-03ffaae48f30" providerId="ADAL" clId="{D711CBB1-0BD3-48F1-8236-238A8F9303FA}" dt="2023-12-13T18:16:03.236" v="3065" actId="948"/>
          <ac:spMkLst>
            <pc:docMk/>
            <pc:sldMk cId="1153576615" sldId="2147375801"/>
            <ac:spMk id="219" creationId="{FDAC1C35-78B8-2D7D-E6EE-ADB1D9D1935D}"/>
          </ac:spMkLst>
        </pc:spChg>
        <pc:spChg chg="mod ord">
          <ac:chgData name="Jorge Costa" userId="6f0ed375-7d90-4a84-93f2-03ffaae48f30" providerId="ADAL" clId="{D711CBB1-0BD3-48F1-8236-238A8F9303FA}" dt="2023-12-13T18:16:03.238" v="3067" actId="948"/>
          <ac:spMkLst>
            <pc:docMk/>
            <pc:sldMk cId="1153576615" sldId="2147375801"/>
            <ac:spMk id="220" creationId="{1833FF99-8D2D-786C-7715-F944B5256C56}"/>
          </ac:spMkLst>
        </pc:spChg>
        <pc:spChg chg="mod ord">
          <ac:chgData name="Jorge Costa" userId="6f0ed375-7d90-4a84-93f2-03ffaae48f30" providerId="ADAL" clId="{D711CBB1-0BD3-48F1-8236-238A8F9303FA}" dt="2023-12-13T18:16:03.236" v="3064" actId="948"/>
          <ac:spMkLst>
            <pc:docMk/>
            <pc:sldMk cId="1153576615" sldId="2147375801"/>
            <ac:spMk id="221" creationId="{93AF85C3-9FD6-C93B-4B17-E9261A3279A7}"/>
          </ac:spMkLst>
        </pc:spChg>
        <pc:spChg chg="mod ord">
          <ac:chgData name="Jorge Costa" userId="6f0ed375-7d90-4a84-93f2-03ffaae48f30" providerId="ADAL" clId="{D711CBB1-0BD3-48F1-8236-238A8F9303FA}" dt="2023-12-13T18:16:03.279" v="3104"/>
          <ac:spMkLst>
            <pc:docMk/>
            <pc:sldMk cId="1153576615" sldId="2147375801"/>
            <ac:spMk id="222" creationId="{4A1C5338-4711-3890-87DE-70F02EB0FC19}"/>
          </ac:spMkLst>
        </pc:spChg>
        <pc:spChg chg="mod">
          <ac:chgData name="Jorge Costa" userId="6f0ed375-7d90-4a84-93f2-03ffaae48f30" providerId="ADAL" clId="{D711CBB1-0BD3-48F1-8236-238A8F9303FA}" dt="2023-12-13T18:16:03.231" v="3056"/>
          <ac:spMkLst>
            <pc:docMk/>
            <pc:sldMk cId="1153576615" sldId="2147375801"/>
            <ac:spMk id="223" creationId="{61110FBE-D1EA-21C7-FCC4-EECDF965F845}"/>
          </ac:spMkLst>
        </pc:spChg>
        <pc:spChg chg="mod ord">
          <ac:chgData name="Jorge Costa" userId="6f0ed375-7d90-4a84-93f2-03ffaae48f30" providerId="ADAL" clId="{D711CBB1-0BD3-48F1-8236-238A8F9303FA}" dt="2023-12-13T18:16:03.245" v="3081" actId="948"/>
          <ac:spMkLst>
            <pc:docMk/>
            <pc:sldMk cId="1153576615" sldId="2147375801"/>
            <ac:spMk id="224" creationId="{9BD22188-5E0C-6FE8-CB73-C150AD198E64}"/>
          </ac:spMkLst>
        </pc:spChg>
        <pc:spChg chg="mod ord">
          <ac:chgData name="Jorge Costa" userId="6f0ed375-7d90-4a84-93f2-03ffaae48f30" providerId="ADAL" clId="{D711CBB1-0BD3-48F1-8236-238A8F9303FA}" dt="2023-12-13T18:16:03.235" v="3063" actId="948"/>
          <ac:spMkLst>
            <pc:docMk/>
            <pc:sldMk cId="1153576615" sldId="2147375801"/>
            <ac:spMk id="225" creationId="{B5D40066-A437-650A-8418-6A64230EBE39}"/>
          </ac:spMkLst>
        </pc:spChg>
        <pc:spChg chg="mod ord">
          <ac:chgData name="Jorge Costa" userId="6f0ed375-7d90-4a84-93f2-03ffaae48f30" providerId="ADAL" clId="{D711CBB1-0BD3-48F1-8236-238A8F9303FA}" dt="2023-12-13T18:16:03.276" v="3096"/>
          <ac:spMkLst>
            <pc:docMk/>
            <pc:sldMk cId="1153576615" sldId="2147375801"/>
            <ac:spMk id="226" creationId="{45CC8D9F-9AC6-27ED-2F10-FCC808E8F121}"/>
          </ac:spMkLst>
        </pc:spChg>
        <pc:spChg chg="mod">
          <ac:chgData name="Jorge Costa" userId="6f0ed375-7d90-4a84-93f2-03ffaae48f30" providerId="ADAL" clId="{D711CBB1-0BD3-48F1-8236-238A8F9303FA}" dt="2023-12-13T18:16:03.216" v="3034"/>
          <ac:spMkLst>
            <pc:docMk/>
            <pc:sldMk cId="1153576615" sldId="2147375801"/>
            <ac:spMk id="227" creationId="{C61B0CE8-5F64-5C61-4ACA-0474E76273B6}"/>
          </ac:spMkLst>
        </pc:spChg>
        <pc:spChg chg="mod">
          <ac:chgData name="Jorge Costa" userId="6f0ed375-7d90-4a84-93f2-03ffaae48f30" providerId="ADAL" clId="{D711CBB1-0BD3-48F1-8236-238A8F9303FA}" dt="2023-12-13T18:16:03.224" v="3047"/>
          <ac:spMkLst>
            <pc:docMk/>
            <pc:sldMk cId="1153576615" sldId="2147375801"/>
            <ac:spMk id="228" creationId="{B102C272-A580-342D-4105-FAE407A51A82}"/>
          </ac:spMkLst>
        </pc:spChg>
        <pc:spChg chg="mod">
          <ac:chgData name="Jorge Costa" userId="6f0ed375-7d90-4a84-93f2-03ffaae48f30" providerId="ADAL" clId="{D711CBB1-0BD3-48F1-8236-238A8F9303FA}" dt="2023-12-13T18:16:03.225" v="3048"/>
          <ac:spMkLst>
            <pc:docMk/>
            <pc:sldMk cId="1153576615" sldId="2147375801"/>
            <ac:spMk id="229" creationId="{8C06AF2E-5E77-3F4D-343E-042F5D31917B}"/>
          </ac:spMkLst>
        </pc:spChg>
        <pc:spChg chg="mod">
          <ac:chgData name="Jorge Costa" userId="6f0ed375-7d90-4a84-93f2-03ffaae48f30" providerId="ADAL" clId="{D711CBB1-0BD3-48F1-8236-238A8F9303FA}" dt="2023-12-13T18:16:03.228" v="3053"/>
          <ac:spMkLst>
            <pc:docMk/>
            <pc:sldMk cId="1153576615" sldId="2147375801"/>
            <ac:spMk id="230" creationId="{0488A16A-BD63-4D0A-3932-59B1E6A51CEC}"/>
          </ac:spMkLst>
        </pc:spChg>
        <pc:spChg chg="mod">
          <ac:chgData name="Jorge Costa" userId="6f0ed375-7d90-4a84-93f2-03ffaae48f30" providerId="ADAL" clId="{D711CBB1-0BD3-48F1-8236-238A8F9303FA}" dt="2023-12-13T18:16:03.232" v="3058"/>
          <ac:spMkLst>
            <pc:docMk/>
            <pc:sldMk cId="1153576615" sldId="2147375801"/>
            <ac:spMk id="231" creationId="{C0D1B7CF-1369-BBE5-D499-060ACBD8770F}"/>
          </ac:spMkLst>
        </pc:spChg>
        <pc:spChg chg="mod ord">
          <ac:chgData name="Jorge Costa" userId="6f0ed375-7d90-4a84-93f2-03ffaae48f30" providerId="ADAL" clId="{D711CBB1-0BD3-48F1-8236-238A8F9303FA}" dt="2023-12-13T18:16:03.235" v="3062" actId="948"/>
          <ac:spMkLst>
            <pc:docMk/>
            <pc:sldMk cId="1153576615" sldId="2147375801"/>
            <ac:spMk id="232" creationId="{88A9019B-D5E4-8402-6AB3-396D79C9C0B5}"/>
          </ac:spMkLst>
        </pc:spChg>
        <pc:spChg chg="mod">
          <ac:chgData name="Jorge Costa" userId="6f0ed375-7d90-4a84-93f2-03ffaae48f30" providerId="ADAL" clId="{D711CBB1-0BD3-48F1-8236-238A8F9303FA}" dt="2023-12-13T18:16:03.232" v="3059"/>
          <ac:spMkLst>
            <pc:docMk/>
            <pc:sldMk cId="1153576615" sldId="2147375801"/>
            <ac:spMk id="233" creationId="{80E286B3-F992-9B26-E600-A76916BA4565}"/>
          </ac:spMkLst>
        </pc:spChg>
        <pc:spChg chg="mod ord">
          <ac:chgData name="Jorge Costa" userId="6f0ed375-7d90-4a84-93f2-03ffaae48f30" providerId="ADAL" clId="{D711CBB1-0BD3-48F1-8236-238A8F9303FA}" dt="2023-12-13T18:16:03.246" v="3083" actId="948"/>
          <ac:spMkLst>
            <pc:docMk/>
            <pc:sldMk cId="1153576615" sldId="2147375801"/>
            <ac:spMk id="234" creationId="{C29B1944-A66B-21F3-1F2B-9E24C8589D28}"/>
          </ac:spMkLst>
        </pc:spChg>
        <pc:spChg chg="mod ord">
          <ac:chgData name="Jorge Costa" userId="6f0ed375-7d90-4a84-93f2-03ffaae48f30" providerId="ADAL" clId="{D711CBB1-0BD3-48F1-8236-238A8F9303FA}" dt="2023-12-13T18:16:50.185" v="3172" actId="14100"/>
          <ac:spMkLst>
            <pc:docMk/>
            <pc:sldMk cId="1153576615" sldId="2147375801"/>
            <ac:spMk id="235" creationId="{5E438BEC-4BD3-A418-3F88-12449881EAC5}"/>
          </ac:spMkLst>
        </pc:spChg>
        <pc:spChg chg="mod ord">
          <ac:chgData name="Jorge Costa" userId="6f0ed375-7d90-4a84-93f2-03ffaae48f30" providerId="ADAL" clId="{D711CBB1-0BD3-48F1-8236-238A8F9303FA}" dt="2023-12-13T18:16:55.245" v="3174" actId="14100"/>
          <ac:spMkLst>
            <pc:docMk/>
            <pc:sldMk cId="1153576615" sldId="2147375801"/>
            <ac:spMk id="236" creationId="{9131EAC4-935E-B23B-E718-ADCC2EA6EA52}"/>
          </ac:spMkLst>
        </pc:spChg>
        <pc:spChg chg="mod ord">
          <ac:chgData name="Jorge Costa" userId="6f0ed375-7d90-4a84-93f2-03ffaae48f30" providerId="ADAL" clId="{D711CBB1-0BD3-48F1-8236-238A8F9303FA}" dt="2023-12-13T18:16:59.152" v="3176" actId="14100"/>
          <ac:spMkLst>
            <pc:docMk/>
            <pc:sldMk cId="1153576615" sldId="2147375801"/>
            <ac:spMk id="237" creationId="{DEA4C876-002D-4C51-7155-8C41C7B2B5D2}"/>
          </ac:spMkLst>
        </pc:spChg>
        <pc:spChg chg="mod ord">
          <ac:chgData name="Jorge Costa" userId="6f0ed375-7d90-4a84-93f2-03ffaae48f30" providerId="ADAL" clId="{D711CBB1-0BD3-48F1-8236-238A8F9303FA}" dt="2023-12-13T18:17:09.018" v="3180" actId="14100"/>
          <ac:spMkLst>
            <pc:docMk/>
            <pc:sldMk cId="1153576615" sldId="2147375801"/>
            <ac:spMk id="238" creationId="{7E18CEDC-908C-96BB-B185-1C4D431E6091}"/>
          </ac:spMkLst>
        </pc:spChg>
        <pc:spChg chg="mod">
          <ac:chgData name="Jorge Costa" userId="6f0ed375-7d90-4a84-93f2-03ffaae48f30" providerId="ADAL" clId="{D711CBB1-0BD3-48F1-8236-238A8F9303FA}" dt="2023-12-13T18:16:03.320" v="3164"/>
          <ac:spMkLst>
            <pc:docMk/>
            <pc:sldMk cId="1153576615" sldId="2147375801"/>
            <ac:spMk id="240" creationId="{E98F4AA2-3E73-A36A-A874-158E9775A76D}"/>
          </ac:spMkLst>
        </pc:spChg>
        <pc:spChg chg="mod">
          <ac:chgData name="Jorge Costa" userId="6f0ed375-7d90-4a84-93f2-03ffaae48f30" providerId="ADAL" clId="{D711CBB1-0BD3-48F1-8236-238A8F9303FA}" dt="2023-12-13T18:16:03.321" v="3166"/>
          <ac:spMkLst>
            <pc:docMk/>
            <pc:sldMk cId="1153576615" sldId="2147375801"/>
            <ac:spMk id="241" creationId="{86B7510F-D361-5476-EA8A-7CB320AAC9B0}"/>
          </ac:spMkLst>
        </pc:spChg>
        <pc:spChg chg="mod ord">
          <ac:chgData name="Jorge Costa" userId="6f0ed375-7d90-4a84-93f2-03ffaae48f30" providerId="ADAL" clId="{D711CBB1-0BD3-48F1-8236-238A8F9303FA}" dt="2023-12-13T18:17:19.081" v="3182" actId="14100"/>
          <ac:spMkLst>
            <pc:docMk/>
            <pc:sldMk cId="1153576615" sldId="2147375801"/>
            <ac:spMk id="251" creationId="{B3D6CAEB-6ED9-788B-6FA2-01A7425EDDBD}"/>
          </ac:spMkLst>
        </pc:spChg>
        <pc:spChg chg="mod ord">
          <ac:chgData name="Jorge Costa" userId="6f0ed375-7d90-4a84-93f2-03ffaae48f30" providerId="ADAL" clId="{D711CBB1-0BD3-48F1-8236-238A8F9303FA}" dt="2023-12-13T18:17:04.404" v="3178" actId="14100"/>
          <ac:spMkLst>
            <pc:docMk/>
            <pc:sldMk cId="1153576615" sldId="2147375801"/>
            <ac:spMk id="252" creationId="{2171171C-BB55-B20E-8D3F-9FB11697DC08}"/>
          </ac:spMkLst>
        </pc:spChg>
        <pc:spChg chg="mod ord">
          <ac:chgData name="Jorge Costa" userId="6f0ed375-7d90-4a84-93f2-03ffaae48f30" providerId="ADAL" clId="{D711CBB1-0BD3-48F1-8236-238A8F9303FA}" dt="2023-12-13T18:17:23.924" v="3184" actId="14100"/>
          <ac:spMkLst>
            <pc:docMk/>
            <pc:sldMk cId="1153576615" sldId="2147375801"/>
            <ac:spMk id="253" creationId="{12816B29-CB98-76E2-107F-A1BD7A060483}"/>
          </ac:spMkLst>
        </pc:spChg>
        <pc:spChg chg="mod ord">
          <ac:chgData name="Jorge Costa" userId="6f0ed375-7d90-4a84-93f2-03ffaae48f30" providerId="ADAL" clId="{D711CBB1-0BD3-48F1-8236-238A8F9303FA}" dt="2023-12-13T15:26:09.973" v="1404"/>
          <ac:spMkLst>
            <pc:docMk/>
            <pc:sldMk cId="1153576615" sldId="2147375801"/>
            <ac:spMk id="268" creationId="{1F9821D8-1457-4261-04D3-F0F241577D8C}"/>
          </ac:spMkLst>
        </pc:spChg>
        <pc:spChg chg="mod ord">
          <ac:chgData name="Jorge Costa" userId="6f0ed375-7d90-4a84-93f2-03ffaae48f30" providerId="ADAL" clId="{D711CBB1-0BD3-48F1-8236-238A8F9303FA}" dt="2023-12-13T15:26:09.973" v="1406"/>
          <ac:spMkLst>
            <pc:docMk/>
            <pc:sldMk cId="1153576615" sldId="2147375801"/>
            <ac:spMk id="269" creationId="{D5DAC934-530E-927F-F028-6A1A311501A1}"/>
          </ac:spMkLst>
        </pc:spChg>
        <pc:spChg chg="mod ord">
          <ac:chgData name="Jorge Costa" userId="6f0ed375-7d90-4a84-93f2-03ffaae48f30" providerId="ADAL" clId="{D711CBB1-0BD3-48F1-8236-238A8F9303FA}" dt="2023-12-13T15:26:09.973" v="1408"/>
          <ac:spMkLst>
            <pc:docMk/>
            <pc:sldMk cId="1153576615" sldId="2147375801"/>
            <ac:spMk id="270" creationId="{AE58B650-B18C-5237-1F84-5861D4B0C189}"/>
          </ac:spMkLst>
        </pc:spChg>
        <pc:spChg chg="mod ord">
          <ac:chgData name="Jorge Costa" userId="6f0ed375-7d90-4a84-93f2-03ffaae48f30" providerId="ADAL" clId="{D711CBB1-0BD3-48F1-8236-238A8F9303FA}" dt="2023-12-13T15:26:09.973" v="1410"/>
          <ac:spMkLst>
            <pc:docMk/>
            <pc:sldMk cId="1153576615" sldId="2147375801"/>
            <ac:spMk id="271" creationId="{326E7FF3-A65C-90B8-3712-B0CDF372E713}"/>
          </ac:spMkLst>
        </pc:spChg>
        <pc:spChg chg="mod ord">
          <ac:chgData name="Jorge Costa" userId="6f0ed375-7d90-4a84-93f2-03ffaae48f30" providerId="ADAL" clId="{D711CBB1-0BD3-48F1-8236-238A8F9303FA}" dt="2023-12-13T15:26:09.973" v="1412"/>
          <ac:spMkLst>
            <pc:docMk/>
            <pc:sldMk cId="1153576615" sldId="2147375801"/>
            <ac:spMk id="272" creationId="{9122A9EB-2F97-8F7A-CDD4-A2712600665B}"/>
          </ac:spMkLst>
        </pc:spChg>
        <pc:spChg chg="mod ord">
          <ac:chgData name="Jorge Costa" userId="6f0ed375-7d90-4a84-93f2-03ffaae48f30" providerId="ADAL" clId="{D711CBB1-0BD3-48F1-8236-238A8F9303FA}" dt="2023-12-13T15:26:09.973" v="1414"/>
          <ac:spMkLst>
            <pc:docMk/>
            <pc:sldMk cId="1153576615" sldId="2147375801"/>
            <ac:spMk id="273" creationId="{3CD45D32-2EE8-89D1-7C5F-F109AE4972DE}"/>
          </ac:spMkLst>
        </pc:spChg>
        <pc:spChg chg="mod ord">
          <ac:chgData name="Jorge Costa" userId="6f0ed375-7d90-4a84-93f2-03ffaae48f30" providerId="ADAL" clId="{D711CBB1-0BD3-48F1-8236-238A8F9303FA}" dt="2023-12-13T15:26:09.973" v="1416"/>
          <ac:spMkLst>
            <pc:docMk/>
            <pc:sldMk cId="1153576615" sldId="2147375801"/>
            <ac:spMk id="274" creationId="{BDB44C31-B0EF-D857-54D5-BC3D0EC75299}"/>
          </ac:spMkLst>
        </pc:spChg>
        <pc:spChg chg="mod ord">
          <ac:chgData name="Jorge Costa" userId="6f0ed375-7d90-4a84-93f2-03ffaae48f30" providerId="ADAL" clId="{D711CBB1-0BD3-48F1-8236-238A8F9303FA}" dt="2023-12-13T15:26:09.978" v="1418"/>
          <ac:spMkLst>
            <pc:docMk/>
            <pc:sldMk cId="1153576615" sldId="2147375801"/>
            <ac:spMk id="275" creationId="{23BA334F-6963-5040-4C6E-E2C868DA01F3}"/>
          </ac:spMkLst>
        </pc:spChg>
        <pc:spChg chg="mod ord">
          <ac:chgData name="Jorge Costa" userId="6f0ed375-7d90-4a84-93f2-03ffaae48f30" providerId="ADAL" clId="{D711CBB1-0BD3-48F1-8236-238A8F9303FA}" dt="2023-12-13T15:26:09.978" v="1420"/>
          <ac:spMkLst>
            <pc:docMk/>
            <pc:sldMk cId="1153576615" sldId="2147375801"/>
            <ac:spMk id="276" creationId="{EF1BF7E6-A145-ACBB-282F-66C4BC2AE3D2}"/>
          </ac:spMkLst>
        </pc:spChg>
        <pc:spChg chg="mod ord">
          <ac:chgData name="Jorge Costa" userId="6f0ed375-7d90-4a84-93f2-03ffaae48f30" providerId="ADAL" clId="{D711CBB1-0BD3-48F1-8236-238A8F9303FA}" dt="2023-12-13T15:26:09.978" v="1422"/>
          <ac:spMkLst>
            <pc:docMk/>
            <pc:sldMk cId="1153576615" sldId="2147375801"/>
            <ac:spMk id="277" creationId="{B8EDED8A-E8BE-9A6E-9D53-C15B52DA32B9}"/>
          </ac:spMkLst>
        </pc:spChg>
        <pc:spChg chg="mod ord">
          <ac:chgData name="Jorge Costa" userId="6f0ed375-7d90-4a84-93f2-03ffaae48f30" providerId="ADAL" clId="{D711CBB1-0BD3-48F1-8236-238A8F9303FA}" dt="2023-12-13T15:26:09.980" v="1424"/>
          <ac:spMkLst>
            <pc:docMk/>
            <pc:sldMk cId="1153576615" sldId="2147375801"/>
            <ac:spMk id="278" creationId="{0FB176DC-12E3-0CD3-B111-E8B4A711414D}"/>
          </ac:spMkLst>
        </pc:spChg>
        <pc:spChg chg="mod ord">
          <ac:chgData name="Jorge Costa" userId="6f0ed375-7d90-4a84-93f2-03ffaae48f30" providerId="ADAL" clId="{D711CBB1-0BD3-48F1-8236-238A8F9303FA}" dt="2023-12-13T15:26:09.980" v="1426"/>
          <ac:spMkLst>
            <pc:docMk/>
            <pc:sldMk cId="1153576615" sldId="2147375801"/>
            <ac:spMk id="279" creationId="{008AA39E-EB55-E175-FFA1-C0400F7981C6}"/>
          </ac:spMkLst>
        </pc:spChg>
        <pc:graphicFrameChg chg="mod">
          <ac:chgData name="Jorge Costa" userId="6f0ed375-7d90-4a84-93f2-03ffaae48f30" providerId="ADAL" clId="{D711CBB1-0BD3-48F1-8236-238A8F9303FA}" dt="2023-12-13T18:16:03.412" v="3170"/>
          <ac:graphicFrameMkLst>
            <pc:docMk/>
            <pc:sldMk cId="1153576615" sldId="2147375801"/>
            <ac:graphicFrameMk id="7" creationId="{1F667C36-CC60-A095-E175-B9E5FC1DF5FB}"/>
          </ac:graphicFrameMkLst>
        </pc:graphicFrameChg>
        <pc:cxnChg chg="mod ord">
          <ac:chgData name="Jorge Costa" userId="6f0ed375-7d90-4a84-93f2-03ffaae48f30" providerId="ADAL" clId="{D711CBB1-0BD3-48F1-8236-238A8F9303FA}" dt="2023-12-13T15:26:09.911" v="1181"/>
          <ac:cxnSpMkLst>
            <pc:docMk/>
            <pc:sldMk cId="1153576615" sldId="2147375801"/>
            <ac:cxnSpMk id="67" creationId="{7E31B1BB-E2D8-E404-5589-ED447F02E97D}"/>
          </ac:cxnSpMkLst>
        </pc:cxnChg>
        <pc:cxnChg chg="mod ord">
          <ac:chgData name="Jorge Costa" userId="6f0ed375-7d90-4a84-93f2-03ffaae48f30" providerId="ADAL" clId="{D711CBB1-0BD3-48F1-8236-238A8F9303FA}" dt="2023-12-13T15:26:09.911" v="1183"/>
          <ac:cxnSpMkLst>
            <pc:docMk/>
            <pc:sldMk cId="1153576615" sldId="2147375801"/>
            <ac:cxnSpMk id="68" creationId="{F88A5327-C5FC-CF28-9BC9-31B313CC1750}"/>
          </ac:cxnSpMkLst>
        </pc:cxnChg>
        <pc:cxnChg chg="mod ord">
          <ac:chgData name="Jorge Costa" userId="6f0ed375-7d90-4a84-93f2-03ffaae48f30" providerId="ADAL" clId="{D711CBB1-0BD3-48F1-8236-238A8F9303FA}" dt="2023-12-13T15:26:09.883" v="1083"/>
          <ac:cxnSpMkLst>
            <pc:docMk/>
            <pc:sldMk cId="1153576615" sldId="2147375801"/>
            <ac:cxnSpMk id="69" creationId="{79F01183-C7E4-003E-DC59-CC84FE79C85D}"/>
          </ac:cxnSpMkLst>
        </pc:cxnChg>
        <pc:cxnChg chg="mod ord">
          <ac:chgData name="Jorge Costa" userId="6f0ed375-7d90-4a84-93f2-03ffaae48f30" providerId="ADAL" clId="{D711CBB1-0BD3-48F1-8236-238A8F9303FA}" dt="2023-12-13T15:26:09.883" v="1085"/>
          <ac:cxnSpMkLst>
            <pc:docMk/>
            <pc:sldMk cId="1153576615" sldId="2147375801"/>
            <ac:cxnSpMk id="70" creationId="{1ECF43D5-18A5-90D5-250A-C4B609519F79}"/>
          </ac:cxnSpMkLst>
        </pc:cxnChg>
        <pc:cxnChg chg="mod ord">
          <ac:chgData name="Jorge Costa" userId="6f0ed375-7d90-4a84-93f2-03ffaae48f30" providerId="ADAL" clId="{D711CBB1-0BD3-48F1-8236-238A8F9303FA}" dt="2023-12-13T15:26:09.898" v="1133"/>
          <ac:cxnSpMkLst>
            <pc:docMk/>
            <pc:sldMk cId="1153576615" sldId="2147375801"/>
            <ac:cxnSpMk id="71" creationId="{BE3C4C67-D911-AA0C-FA9E-E3BB3CC1A9AB}"/>
          </ac:cxnSpMkLst>
        </pc:cxnChg>
        <pc:cxnChg chg="mod ord">
          <ac:chgData name="Jorge Costa" userId="6f0ed375-7d90-4a84-93f2-03ffaae48f30" providerId="ADAL" clId="{D711CBB1-0BD3-48F1-8236-238A8F9303FA}" dt="2023-12-13T15:26:09.903" v="1145"/>
          <ac:cxnSpMkLst>
            <pc:docMk/>
            <pc:sldMk cId="1153576615" sldId="2147375801"/>
            <ac:cxnSpMk id="72" creationId="{94A44C03-EF3B-7BD2-3FF3-AA909DEE72CD}"/>
          </ac:cxnSpMkLst>
        </pc:cxnChg>
        <pc:cxnChg chg="mod ord">
          <ac:chgData name="Jorge Costa" userId="6f0ed375-7d90-4a84-93f2-03ffaae48f30" providerId="ADAL" clId="{D711CBB1-0BD3-48F1-8236-238A8F9303FA}" dt="2023-12-13T15:26:09.888" v="1091"/>
          <ac:cxnSpMkLst>
            <pc:docMk/>
            <pc:sldMk cId="1153576615" sldId="2147375801"/>
            <ac:cxnSpMk id="73" creationId="{F6D29B6B-E5F9-C93C-C11F-02B8CC1334F8}"/>
          </ac:cxnSpMkLst>
        </pc:cxnChg>
        <pc:cxnChg chg="mod ord">
          <ac:chgData name="Jorge Costa" userId="6f0ed375-7d90-4a84-93f2-03ffaae48f30" providerId="ADAL" clId="{D711CBB1-0BD3-48F1-8236-238A8F9303FA}" dt="2023-12-13T15:26:09.888" v="1093"/>
          <ac:cxnSpMkLst>
            <pc:docMk/>
            <pc:sldMk cId="1153576615" sldId="2147375801"/>
            <ac:cxnSpMk id="74" creationId="{5BA2A22A-CC0B-31E1-981B-89EE753C6331}"/>
          </ac:cxnSpMkLst>
        </pc:cxnChg>
        <pc:cxnChg chg="mod ord">
          <ac:chgData name="Jorge Costa" userId="6f0ed375-7d90-4a84-93f2-03ffaae48f30" providerId="ADAL" clId="{D711CBB1-0BD3-48F1-8236-238A8F9303FA}" dt="2023-12-13T15:26:09.888" v="1095"/>
          <ac:cxnSpMkLst>
            <pc:docMk/>
            <pc:sldMk cId="1153576615" sldId="2147375801"/>
            <ac:cxnSpMk id="75" creationId="{02DAC459-AF78-0DE1-B336-E9C82A128F5C}"/>
          </ac:cxnSpMkLst>
        </pc:cxnChg>
        <pc:cxnChg chg="mod ord">
          <ac:chgData name="Jorge Costa" userId="6f0ed375-7d90-4a84-93f2-03ffaae48f30" providerId="ADAL" clId="{D711CBB1-0BD3-48F1-8236-238A8F9303FA}" dt="2023-12-13T15:26:09.888" v="1097"/>
          <ac:cxnSpMkLst>
            <pc:docMk/>
            <pc:sldMk cId="1153576615" sldId="2147375801"/>
            <ac:cxnSpMk id="76" creationId="{E55DA398-C3BA-8A09-BAD8-F13CABB0B5F0}"/>
          </ac:cxnSpMkLst>
        </pc:cxnChg>
        <pc:cxnChg chg="mod ord">
          <ac:chgData name="Jorge Costa" userId="6f0ed375-7d90-4a84-93f2-03ffaae48f30" providerId="ADAL" clId="{D711CBB1-0BD3-48F1-8236-238A8F9303FA}" dt="2023-12-13T15:26:09.888" v="1099"/>
          <ac:cxnSpMkLst>
            <pc:docMk/>
            <pc:sldMk cId="1153576615" sldId="2147375801"/>
            <ac:cxnSpMk id="77" creationId="{AB864E01-7B51-54FF-A21D-A6E81D543675}"/>
          </ac:cxnSpMkLst>
        </pc:cxnChg>
        <pc:cxnChg chg="mod ord">
          <ac:chgData name="Jorge Costa" userId="6f0ed375-7d90-4a84-93f2-03ffaae48f30" providerId="ADAL" clId="{D711CBB1-0BD3-48F1-8236-238A8F9303FA}" dt="2023-12-13T15:26:09.888" v="1101"/>
          <ac:cxnSpMkLst>
            <pc:docMk/>
            <pc:sldMk cId="1153576615" sldId="2147375801"/>
            <ac:cxnSpMk id="78" creationId="{05999A4D-C52E-9D87-665C-28FAE1F2C8BA}"/>
          </ac:cxnSpMkLst>
        </pc:cxnChg>
        <pc:cxnChg chg="mod ord">
          <ac:chgData name="Jorge Costa" userId="6f0ed375-7d90-4a84-93f2-03ffaae48f30" providerId="ADAL" clId="{D711CBB1-0BD3-48F1-8236-238A8F9303FA}" dt="2023-12-13T15:26:09.888" v="1103"/>
          <ac:cxnSpMkLst>
            <pc:docMk/>
            <pc:sldMk cId="1153576615" sldId="2147375801"/>
            <ac:cxnSpMk id="79" creationId="{9E0E3629-E466-733D-F34D-24CF37975663}"/>
          </ac:cxnSpMkLst>
        </pc:cxnChg>
        <pc:cxnChg chg="mod ord">
          <ac:chgData name="Jorge Costa" userId="6f0ed375-7d90-4a84-93f2-03ffaae48f30" providerId="ADAL" clId="{D711CBB1-0BD3-48F1-8236-238A8F9303FA}" dt="2023-12-13T15:26:09.888" v="1105"/>
          <ac:cxnSpMkLst>
            <pc:docMk/>
            <pc:sldMk cId="1153576615" sldId="2147375801"/>
            <ac:cxnSpMk id="80" creationId="{F453A6E3-4BA1-6BD8-0E98-2A00FEC0B259}"/>
          </ac:cxnSpMkLst>
        </pc:cxnChg>
        <pc:cxnChg chg="mod ord">
          <ac:chgData name="Jorge Costa" userId="6f0ed375-7d90-4a84-93f2-03ffaae48f30" providerId="ADAL" clId="{D711CBB1-0BD3-48F1-8236-238A8F9303FA}" dt="2023-12-13T15:26:09.893" v="1107"/>
          <ac:cxnSpMkLst>
            <pc:docMk/>
            <pc:sldMk cId="1153576615" sldId="2147375801"/>
            <ac:cxnSpMk id="81" creationId="{6646BD1E-AD93-D861-EEBC-110155973EC3}"/>
          </ac:cxnSpMkLst>
        </pc:cxnChg>
        <pc:cxnChg chg="mod ord">
          <ac:chgData name="Jorge Costa" userId="6f0ed375-7d90-4a84-93f2-03ffaae48f30" providerId="ADAL" clId="{D711CBB1-0BD3-48F1-8236-238A8F9303FA}" dt="2023-12-13T15:26:09.893" v="1109"/>
          <ac:cxnSpMkLst>
            <pc:docMk/>
            <pc:sldMk cId="1153576615" sldId="2147375801"/>
            <ac:cxnSpMk id="82" creationId="{BEA10834-2C0D-50A9-98C4-17AA3071042F}"/>
          </ac:cxnSpMkLst>
        </pc:cxnChg>
        <pc:cxnChg chg="mod ord">
          <ac:chgData name="Jorge Costa" userId="6f0ed375-7d90-4a84-93f2-03ffaae48f30" providerId="ADAL" clId="{D711CBB1-0BD3-48F1-8236-238A8F9303FA}" dt="2023-12-13T15:26:09.893" v="1111"/>
          <ac:cxnSpMkLst>
            <pc:docMk/>
            <pc:sldMk cId="1153576615" sldId="2147375801"/>
            <ac:cxnSpMk id="83" creationId="{ABC32D25-BA53-66BE-7282-A628F53F4F57}"/>
          </ac:cxnSpMkLst>
        </pc:cxnChg>
        <pc:cxnChg chg="mod ord">
          <ac:chgData name="Jorge Costa" userId="6f0ed375-7d90-4a84-93f2-03ffaae48f30" providerId="ADAL" clId="{D711CBB1-0BD3-48F1-8236-238A8F9303FA}" dt="2023-12-13T15:26:09.893" v="1113"/>
          <ac:cxnSpMkLst>
            <pc:docMk/>
            <pc:sldMk cId="1153576615" sldId="2147375801"/>
            <ac:cxnSpMk id="84" creationId="{B3B25393-5103-0412-B385-F1B18E74BE6C}"/>
          </ac:cxnSpMkLst>
        </pc:cxnChg>
        <pc:cxnChg chg="mod ord">
          <ac:chgData name="Jorge Costa" userId="6f0ed375-7d90-4a84-93f2-03ffaae48f30" providerId="ADAL" clId="{D711CBB1-0BD3-48F1-8236-238A8F9303FA}" dt="2023-12-13T15:26:09.893" v="1115"/>
          <ac:cxnSpMkLst>
            <pc:docMk/>
            <pc:sldMk cId="1153576615" sldId="2147375801"/>
            <ac:cxnSpMk id="85" creationId="{FDAD6120-9E3D-DAA7-B78A-CEB0429914F5}"/>
          </ac:cxnSpMkLst>
        </pc:cxnChg>
        <pc:cxnChg chg="mod ord">
          <ac:chgData name="Jorge Costa" userId="6f0ed375-7d90-4a84-93f2-03ffaae48f30" providerId="ADAL" clId="{D711CBB1-0BD3-48F1-8236-238A8F9303FA}" dt="2023-12-13T15:26:09.896" v="1117"/>
          <ac:cxnSpMkLst>
            <pc:docMk/>
            <pc:sldMk cId="1153576615" sldId="2147375801"/>
            <ac:cxnSpMk id="86" creationId="{DDFBA43D-FE0B-B1FF-2168-FF0488B26388}"/>
          </ac:cxnSpMkLst>
        </pc:cxnChg>
        <pc:cxnChg chg="mod ord">
          <ac:chgData name="Jorge Costa" userId="6f0ed375-7d90-4a84-93f2-03ffaae48f30" providerId="ADAL" clId="{D711CBB1-0BD3-48F1-8236-238A8F9303FA}" dt="2023-12-13T15:26:09.896" v="1119"/>
          <ac:cxnSpMkLst>
            <pc:docMk/>
            <pc:sldMk cId="1153576615" sldId="2147375801"/>
            <ac:cxnSpMk id="87" creationId="{1880178E-FA91-5BB8-D664-90C84C893DE3}"/>
          </ac:cxnSpMkLst>
        </pc:cxnChg>
        <pc:cxnChg chg="mod ord">
          <ac:chgData name="Jorge Costa" userId="6f0ed375-7d90-4a84-93f2-03ffaae48f30" providerId="ADAL" clId="{D711CBB1-0BD3-48F1-8236-238A8F9303FA}" dt="2023-12-13T15:26:09.896" v="1121"/>
          <ac:cxnSpMkLst>
            <pc:docMk/>
            <pc:sldMk cId="1153576615" sldId="2147375801"/>
            <ac:cxnSpMk id="88" creationId="{06A74EA9-0B09-2C1F-8CF6-E921D09E80F0}"/>
          </ac:cxnSpMkLst>
        </pc:cxnChg>
        <pc:cxnChg chg="mod ord">
          <ac:chgData name="Jorge Costa" userId="6f0ed375-7d90-4a84-93f2-03ffaae48f30" providerId="ADAL" clId="{D711CBB1-0BD3-48F1-8236-238A8F9303FA}" dt="2023-12-13T15:26:09.896" v="1123"/>
          <ac:cxnSpMkLst>
            <pc:docMk/>
            <pc:sldMk cId="1153576615" sldId="2147375801"/>
            <ac:cxnSpMk id="89" creationId="{4B5C9966-EA86-8171-8150-31D37AD504BB}"/>
          </ac:cxnSpMkLst>
        </pc:cxnChg>
        <pc:cxnChg chg="mod ord">
          <ac:chgData name="Jorge Costa" userId="6f0ed375-7d90-4a84-93f2-03ffaae48f30" providerId="ADAL" clId="{D711CBB1-0BD3-48F1-8236-238A8F9303FA}" dt="2023-12-13T15:26:09.896" v="1125"/>
          <ac:cxnSpMkLst>
            <pc:docMk/>
            <pc:sldMk cId="1153576615" sldId="2147375801"/>
            <ac:cxnSpMk id="90" creationId="{70BF7317-C847-655E-00D0-9328726A1E90}"/>
          </ac:cxnSpMkLst>
        </pc:cxnChg>
        <pc:cxnChg chg="mod ord">
          <ac:chgData name="Jorge Costa" userId="6f0ed375-7d90-4a84-93f2-03ffaae48f30" providerId="ADAL" clId="{D711CBB1-0BD3-48F1-8236-238A8F9303FA}" dt="2023-12-13T15:26:09.898" v="1127"/>
          <ac:cxnSpMkLst>
            <pc:docMk/>
            <pc:sldMk cId="1153576615" sldId="2147375801"/>
            <ac:cxnSpMk id="91" creationId="{9FCE26A6-1C49-892D-0419-19687A7DA7FE}"/>
          </ac:cxnSpMkLst>
        </pc:cxnChg>
        <pc:cxnChg chg="mod ord">
          <ac:chgData name="Jorge Costa" userId="6f0ed375-7d90-4a84-93f2-03ffaae48f30" providerId="ADAL" clId="{D711CBB1-0BD3-48F1-8236-238A8F9303FA}" dt="2023-12-13T15:26:09.898" v="1129"/>
          <ac:cxnSpMkLst>
            <pc:docMk/>
            <pc:sldMk cId="1153576615" sldId="2147375801"/>
            <ac:cxnSpMk id="92" creationId="{5D510BA9-E8F8-DE03-E8C6-3E83BBEC9345}"/>
          </ac:cxnSpMkLst>
        </pc:cxnChg>
        <pc:cxnChg chg="mod ord">
          <ac:chgData name="Jorge Costa" userId="6f0ed375-7d90-4a84-93f2-03ffaae48f30" providerId="ADAL" clId="{D711CBB1-0BD3-48F1-8236-238A8F9303FA}" dt="2023-12-13T15:26:09.898" v="1131"/>
          <ac:cxnSpMkLst>
            <pc:docMk/>
            <pc:sldMk cId="1153576615" sldId="2147375801"/>
            <ac:cxnSpMk id="93" creationId="{10E94096-5749-7264-FD91-D2A13CC7D9C3}"/>
          </ac:cxnSpMkLst>
        </pc:cxnChg>
        <pc:cxnChg chg="mod ord">
          <ac:chgData name="Jorge Costa" userId="6f0ed375-7d90-4a84-93f2-03ffaae48f30" providerId="ADAL" clId="{D711CBB1-0BD3-48F1-8236-238A8F9303FA}" dt="2023-12-13T15:26:09.898" v="1135"/>
          <ac:cxnSpMkLst>
            <pc:docMk/>
            <pc:sldMk cId="1153576615" sldId="2147375801"/>
            <ac:cxnSpMk id="94" creationId="{B6E626A0-BBA0-BF18-8FE6-CC98194C86CB}"/>
          </ac:cxnSpMkLst>
        </pc:cxnChg>
        <pc:cxnChg chg="mod ord">
          <ac:chgData name="Jorge Costa" userId="6f0ed375-7d90-4a84-93f2-03ffaae48f30" providerId="ADAL" clId="{D711CBB1-0BD3-48F1-8236-238A8F9303FA}" dt="2023-12-13T15:26:09.898" v="1137"/>
          <ac:cxnSpMkLst>
            <pc:docMk/>
            <pc:sldMk cId="1153576615" sldId="2147375801"/>
            <ac:cxnSpMk id="95" creationId="{3E454069-5554-6854-75F9-D94BBC259626}"/>
          </ac:cxnSpMkLst>
        </pc:cxnChg>
        <pc:cxnChg chg="mod ord">
          <ac:chgData name="Jorge Costa" userId="6f0ed375-7d90-4a84-93f2-03ffaae48f30" providerId="ADAL" clId="{D711CBB1-0BD3-48F1-8236-238A8F9303FA}" dt="2023-12-13T15:26:09.898" v="1139"/>
          <ac:cxnSpMkLst>
            <pc:docMk/>
            <pc:sldMk cId="1153576615" sldId="2147375801"/>
            <ac:cxnSpMk id="96" creationId="{99D23056-B080-88C4-34E9-258E028DA0AA}"/>
          </ac:cxnSpMkLst>
        </pc:cxnChg>
        <pc:cxnChg chg="mod ord">
          <ac:chgData name="Jorge Costa" userId="6f0ed375-7d90-4a84-93f2-03ffaae48f30" providerId="ADAL" clId="{D711CBB1-0BD3-48F1-8236-238A8F9303FA}" dt="2023-12-13T15:26:09.902" v="1141"/>
          <ac:cxnSpMkLst>
            <pc:docMk/>
            <pc:sldMk cId="1153576615" sldId="2147375801"/>
            <ac:cxnSpMk id="97" creationId="{7407D70C-FA4C-0985-EBC6-42EABA1AC51C}"/>
          </ac:cxnSpMkLst>
        </pc:cxnChg>
        <pc:cxnChg chg="mod ord">
          <ac:chgData name="Jorge Costa" userId="6f0ed375-7d90-4a84-93f2-03ffaae48f30" providerId="ADAL" clId="{D711CBB1-0BD3-48F1-8236-238A8F9303FA}" dt="2023-12-13T15:26:09.903" v="1143"/>
          <ac:cxnSpMkLst>
            <pc:docMk/>
            <pc:sldMk cId="1153576615" sldId="2147375801"/>
            <ac:cxnSpMk id="98" creationId="{0C94E254-AEAE-8CFE-5D8D-C3FB92807DE2}"/>
          </ac:cxnSpMkLst>
        </pc:cxnChg>
        <pc:cxnChg chg="mod ord">
          <ac:chgData name="Jorge Costa" userId="6f0ed375-7d90-4a84-93f2-03ffaae48f30" providerId="ADAL" clId="{D711CBB1-0BD3-48F1-8236-238A8F9303FA}" dt="2023-12-13T15:26:09.903" v="1149"/>
          <ac:cxnSpMkLst>
            <pc:docMk/>
            <pc:sldMk cId="1153576615" sldId="2147375801"/>
            <ac:cxnSpMk id="99" creationId="{1DD31E87-AFE0-442C-BCF1-DFFAFEDB6E83}"/>
          </ac:cxnSpMkLst>
        </pc:cxnChg>
        <pc:cxnChg chg="mod ord">
          <ac:chgData name="Jorge Costa" userId="6f0ed375-7d90-4a84-93f2-03ffaae48f30" providerId="ADAL" clId="{D711CBB1-0BD3-48F1-8236-238A8F9303FA}" dt="2023-12-13T15:26:09.903" v="1147"/>
          <ac:cxnSpMkLst>
            <pc:docMk/>
            <pc:sldMk cId="1153576615" sldId="2147375801"/>
            <ac:cxnSpMk id="100" creationId="{4C32E6B1-1370-A9DC-B1EF-B7BE23A2D038}"/>
          </ac:cxnSpMkLst>
        </pc:cxnChg>
        <pc:cxnChg chg="mod ord">
          <ac:chgData name="Jorge Costa" userId="6f0ed375-7d90-4a84-93f2-03ffaae48f30" providerId="ADAL" clId="{D711CBB1-0BD3-48F1-8236-238A8F9303FA}" dt="2023-12-13T15:26:09.903" v="1151"/>
          <ac:cxnSpMkLst>
            <pc:docMk/>
            <pc:sldMk cId="1153576615" sldId="2147375801"/>
            <ac:cxnSpMk id="101" creationId="{B3451781-EB09-2656-7D06-EAEB1617E370}"/>
          </ac:cxnSpMkLst>
        </pc:cxnChg>
        <pc:cxnChg chg="add mod ord replST">
          <ac:chgData name="Jorge Costa" userId="6f0ed375-7d90-4a84-93f2-03ffaae48f30" providerId="ADAL" clId="{D711CBB1-0BD3-48F1-8236-238A8F9303FA}" dt="2023-12-13T15:26:09.946" v="1313"/>
          <ac:cxnSpMkLst>
            <pc:docMk/>
            <pc:sldMk cId="1153576615" sldId="2147375801"/>
            <ac:cxnSpMk id="102" creationId="{4452EE69-5B40-C3AD-49EF-56AA950F86D8}"/>
          </ac:cxnSpMkLst>
        </pc:cxnChg>
        <pc:cxnChg chg="mod ord">
          <ac:chgData name="Jorge Costa" userId="6f0ed375-7d90-4a84-93f2-03ffaae48f30" providerId="ADAL" clId="{D711CBB1-0BD3-48F1-8236-238A8F9303FA}" dt="2023-12-13T15:26:09.903" v="1153"/>
          <ac:cxnSpMkLst>
            <pc:docMk/>
            <pc:sldMk cId="1153576615" sldId="2147375801"/>
            <ac:cxnSpMk id="103" creationId="{9A6F1B0B-08AE-4BA7-BFFA-3BE96AD9F917}"/>
          </ac:cxnSpMkLst>
        </pc:cxnChg>
        <pc:cxnChg chg="mod ord">
          <ac:chgData name="Jorge Costa" userId="6f0ed375-7d90-4a84-93f2-03ffaae48f30" providerId="ADAL" clId="{D711CBB1-0BD3-48F1-8236-238A8F9303FA}" dt="2023-12-13T15:26:09.903" v="1155"/>
          <ac:cxnSpMkLst>
            <pc:docMk/>
            <pc:sldMk cId="1153576615" sldId="2147375801"/>
            <ac:cxnSpMk id="104" creationId="{DBFDB064-DB73-F28E-0EC2-CEDE30DD5663}"/>
          </ac:cxnSpMkLst>
        </pc:cxnChg>
        <pc:cxnChg chg="mod ord">
          <ac:chgData name="Jorge Costa" userId="6f0ed375-7d90-4a84-93f2-03ffaae48f30" providerId="ADAL" clId="{D711CBB1-0BD3-48F1-8236-238A8F9303FA}" dt="2023-12-13T15:26:09.906" v="1157"/>
          <ac:cxnSpMkLst>
            <pc:docMk/>
            <pc:sldMk cId="1153576615" sldId="2147375801"/>
            <ac:cxnSpMk id="105" creationId="{408E5576-4F43-C9B1-93E8-2FAE3E150C74}"/>
          </ac:cxnSpMkLst>
        </pc:cxnChg>
        <pc:cxnChg chg="mod ord">
          <ac:chgData name="Jorge Costa" userId="6f0ed375-7d90-4a84-93f2-03ffaae48f30" providerId="ADAL" clId="{D711CBB1-0BD3-48F1-8236-238A8F9303FA}" dt="2023-12-13T15:26:09.906" v="1159"/>
          <ac:cxnSpMkLst>
            <pc:docMk/>
            <pc:sldMk cId="1153576615" sldId="2147375801"/>
            <ac:cxnSpMk id="106" creationId="{3CFBDC8A-1169-9FE1-EC5F-321330A14AB7}"/>
          </ac:cxnSpMkLst>
        </pc:cxnChg>
        <pc:cxnChg chg="add mod ord replST">
          <ac:chgData name="Jorge Costa" userId="6f0ed375-7d90-4a84-93f2-03ffaae48f30" providerId="ADAL" clId="{D711CBB1-0BD3-48F1-8236-238A8F9303FA}" dt="2023-12-13T15:26:09.883" v="1087"/>
          <ac:cxnSpMkLst>
            <pc:docMk/>
            <pc:sldMk cId="1153576615" sldId="2147375801"/>
            <ac:cxnSpMk id="107" creationId="{83D07327-F57F-2CDF-5671-A0C096EBD4AE}"/>
          </ac:cxnSpMkLst>
        </pc:cxnChg>
        <pc:cxnChg chg="mod ord">
          <ac:chgData name="Jorge Costa" userId="6f0ed375-7d90-4a84-93f2-03ffaae48f30" providerId="ADAL" clId="{D711CBB1-0BD3-48F1-8236-238A8F9303FA}" dt="2023-12-13T15:26:09.907" v="1161"/>
          <ac:cxnSpMkLst>
            <pc:docMk/>
            <pc:sldMk cId="1153576615" sldId="2147375801"/>
            <ac:cxnSpMk id="108" creationId="{6DEB9DB8-6016-79E3-3C17-250EDA4EA6DF}"/>
          </ac:cxnSpMkLst>
        </pc:cxnChg>
        <pc:cxnChg chg="mod ord">
          <ac:chgData name="Jorge Costa" userId="6f0ed375-7d90-4a84-93f2-03ffaae48f30" providerId="ADAL" clId="{D711CBB1-0BD3-48F1-8236-238A8F9303FA}" dt="2023-12-13T15:26:09.907" v="1163"/>
          <ac:cxnSpMkLst>
            <pc:docMk/>
            <pc:sldMk cId="1153576615" sldId="2147375801"/>
            <ac:cxnSpMk id="109" creationId="{5A79ED4B-640E-7B22-18DA-5872C8A66FDA}"/>
          </ac:cxnSpMkLst>
        </pc:cxnChg>
        <pc:cxnChg chg="mod ord">
          <ac:chgData name="Jorge Costa" userId="6f0ed375-7d90-4a84-93f2-03ffaae48f30" providerId="ADAL" clId="{D711CBB1-0BD3-48F1-8236-238A8F9303FA}" dt="2023-12-13T15:26:09.907" v="1165"/>
          <ac:cxnSpMkLst>
            <pc:docMk/>
            <pc:sldMk cId="1153576615" sldId="2147375801"/>
            <ac:cxnSpMk id="110" creationId="{8576568C-20AB-632B-78D1-EDB86AC8569F}"/>
          </ac:cxnSpMkLst>
        </pc:cxnChg>
        <pc:cxnChg chg="mod ord">
          <ac:chgData name="Jorge Costa" userId="6f0ed375-7d90-4a84-93f2-03ffaae48f30" providerId="ADAL" clId="{D711CBB1-0BD3-48F1-8236-238A8F9303FA}" dt="2023-12-13T15:26:09.907" v="1167"/>
          <ac:cxnSpMkLst>
            <pc:docMk/>
            <pc:sldMk cId="1153576615" sldId="2147375801"/>
            <ac:cxnSpMk id="111" creationId="{6F6AC891-D6B5-CBD0-CBB9-FDBC6FE6DD82}"/>
          </ac:cxnSpMkLst>
        </pc:cxnChg>
        <pc:cxnChg chg="mod ord">
          <ac:chgData name="Jorge Costa" userId="6f0ed375-7d90-4a84-93f2-03ffaae48f30" providerId="ADAL" clId="{D711CBB1-0BD3-48F1-8236-238A8F9303FA}" dt="2023-12-13T15:26:09.907" v="1169"/>
          <ac:cxnSpMkLst>
            <pc:docMk/>
            <pc:sldMk cId="1153576615" sldId="2147375801"/>
            <ac:cxnSpMk id="112" creationId="{A2C1A27F-075F-ECB5-2E05-D90DF4553ED6}"/>
          </ac:cxnSpMkLst>
        </pc:cxnChg>
        <pc:cxnChg chg="mod ord">
          <ac:chgData name="Jorge Costa" userId="6f0ed375-7d90-4a84-93f2-03ffaae48f30" providerId="ADAL" clId="{D711CBB1-0BD3-48F1-8236-238A8F9303FA}" dt="2023-12-13T15:26:09.910" v="1171"/>
          <ac:cxnSpMkLst>
            <pc:docMk/>
            <pc:sldMk cId="1153576615" sldId="2147375801"/>
            <ac:cxnSpMk id="113" creationId="{2AB553E3-5E3B-3604-2E7A-46C69ECB0EDC}"/>
          </ac:cxnSpMkLst>
        </pc:cxnChg>
        <pc:cxnChg chg="mod ord">
          <ac:chgData name="Jorge Costa" userId="6f0ed375-7d90-4a84-93f2-03ffaae48f30" providerId="ADAL" clId="{D711CBB1-0BD3-48F1-8236-238A8F9303FA}" dt="2023-12-13T15:26:09.914" v="1195"/>
          <ac:cxnSpMkLst>
            <pc:docMk/>
            <pc:sldMk cId="1153576615" sldId="2147375801"/>
            <ac:cxnSpMk id="116" creationId="{6E3763D0-74BA-656B-5E49-7A3036BD8C98}"/>
          </ac:cxnSpMkLst>
        </pc:cxnChg>
        <pc:cxnChg chg="mod ord">
          <ac:chgData name="Jorge Costa" userId="6f0ed375-7d90-4a84-93f2-03ffaae48f30" providerId="ADAL" clId="{D711CBB1-0BD3-48F1-8236-238A8F9303FA}" dt="2023-12-13T15:26:09.913" v="1187"/>
          <ac:cxnSpMkLst>
            <pc:docMk/>
            <pc:sldMk cId="1153576615" sldId="2147375801"/>
            <ac:cxnSpMk id="117" creationId="{92856AB9-B231-55FF-F630-A98C5B841611}"/>
          </ac:cxnSpMkLst>
        </pc:cxnChg>
        <pc:cxnChg chg="mod ord">
          <ac:chgData name="Jorge Costa" userId="6f0ed375-7d90-4a84-93f2-03ffaae48f30" providerId="ADAL" clId="{D711CBB1-0BD3-48F1-8236-238A8F9303FA}" dt="2023-12-13T15:26:09.913" v="1189"/>
          <ac:cxnSpMkLst>
            <pc:docMk/>
            <pc:sldMk cId="1153576615" sldId="2147375801"/>
            <ac:cxnSpMk id="118" creationId="{E3DF2317-F4E7-61B0-E660-6F094259F985}"/>
          </ac:cxnSpMkLst>
        </pc:cxnChg>
        <pc:cxnChg chg="mod ord">
          <ac:chgData name="Jorge Costa" userId="6f0ed375-7d90-4a84-93f2-03ffaae48f30" providerId="ADAL" clId="{D711CBB1-0BD3-48F1-8236-238A8F9303FA}" dt="2023-12-13T15:26:09.914" v="1193"/>
          <ac:cxnSpMkLst>
            <pc:docMk/>
            <pc:sldMk cId="1153576615" sldId="2147375801"/>
            <ac:cxnSpMk id="119" creationId="{0BA44186-09B3-7464-2FAE-3CA4441FD790}"/>
          </ac:cxnSpMkLst>
        </pc:cxnChg>
        <pc:cxnChg chg="mod ord">
          <ac:chgData name="Jorge Costa" userId="6f0ed375-7d90-4a84-93f2-03ffaae48f30" providerId="ADAL" clId="{D711CBB1-0BD3-48F1-8236-238A8F9303FA}" dt="2023-12-13T15:26:09.913" v="1185"/>
          <ac:cxnSpMkLst>
            <pc:docMk/>
            <pc:sldMk cId="1153576615" sldId="2147375801"/>
            <ac:cxnSpMk id="120" creationId="{545B1D29-80B3-E9E2-CAEF-5983C9AB6036}"/>
          </ac:cxnSpMkLst>
        </pc:cxnChg>
        <pc:cxnChg chg="mod ord">
          <ac:chgData name="Jorge Costa" userId="6f0ed375-7d90-4a84-93f2-03ffaae48f30" providerId="ADAL" clId="{D711CBB1-0BD3-48F1-8236-238A8F9303FA}" dt="2023-12-13T15:26:09.914" v="1191"/>
          <ac:cxnSpMkLst>
            <pc:docMk/>
            <pc:sldMk cId="1153576615" sldId="2147375801"/>
            <ac:cxnSpMk id="121" creationId="{034D6545-431E-F7A0-6753-0893EC73FD25}"/>
          </ac:cxnSpMkLst>
        </pc:cxnChg>
        <pc:cxnChg chg="mod ord">
          <ac:chgData name="Jorge Costa" userId="6f0ed375-7d90-4a84-93f2-03ffaae48f30" providerId="ADAL" clId="{D711CBB1-0BD3-48F1-8236-238A8F9303FA}" dt="2023-12-13T15:26:09.914" v="1197"/>
          <ac:cxnSpMkLst>
            <pc:docMk/>
            <pc:sldMk cId="1153576615" sldId="2147375801"/>
            <ac:cxnSpMk id="122" creationId="{55388708-845D-3789-7D9D-E1A489D321E4}"/>
          </ac:cxnSpMkLst>
        </pc:cxnChg>
        <pc:cxnChg chg="mod ord">
          <ac:chgData name="Jorge Costa" userId="6f0ed375-7d90-4a84-93f2-03ffaae48f30" providerId="ADAL" clId="{D711CBB1-0BD3-48F1-8236-238A8F9303FA}" dt="2023-12-13T15:26:09.914" v="1205"/>
          <ac:cxnSpMkLst>
            <pc:docMk/>
            <pc:sldMk cId="1153576615" sldId="2147375801"/>
            <ac:cxnSpMk id="123" creationId="{1BAD0CC1-7AE4-83B4-1C45-CB95B06C4062}"/>
          </ac:cxnSpMkLst>
        </pc:cxnChg>
        <pc:cxnChg chg="mod ord">
          <ac:chgData name="Jorge Costa" userId="6f0ed375-7d90-4a84-93f2-03ffaae48f30" providerId="ADAL" clId="{D711CBB1-0BD3-48F1-8236-238A8F9303FA}" dt="2023-12-13T15:26:09.914" v="1201"/>
          <ac:cxnSpMkLst>
            <pc:docMk/>
            <pc:sldMk cId="1153576615" sldId="2147375801"/>
            <ac:cxnSpMk id="124" creationId="{3420362D-7395-1142-7A6B-F32578DCB1DC}"/>
          </ac:cxnSpMkLst>
        </pc:cxnChg>
        <pc:cxnChg chg="mod ord">
          <ac:chgData name="Jorge Costa" userId="6f0ed375-7d90-4a84-93f2-03ffaae48f30" providerId="ADAL" clId="{D711CBB1-0BD3-48F1-8236-238A8F9303FA}" dt="2023-12-13T15:26:09.914" v="1203"/>
          <ac:cxnSpMkLst>
            <pc:docMk/>
            <pc:sldMk cId="1153576615" sldId="2147375801"/>
            <ac:cxnSpMk id="125" creationId="{7BCA3C77-9FBB-CAFB-6685-9B9C04E66FE1}"/>
          </ac:cxnSpMkLst>
        </pc:cxnChg>
        <pc:cxnChg chg="mod ord">
          <ac:chgData name="Jorge Costa" userId="6f0ed375-7d90-4a84-93f2-03ffaae48f30" providerId="ADAL" clId="{D711CBB1-0BD3-48F1-8236-238A8F9303FA}" dt="2023-12-13T15:26:09.914" v="1199"/>
          <ac:cxnSpMkLst>
            <pc:docMk/>
            <pc:sldMk cId="1153576615" sldId="2147375801"/>
            <ac:cxnSpMk id="126" creationId="{4140853A-DFBB-A481-04AF-29302089EE20}"/>
          </ac:cxnSpMkLst>
        </pc:cxnChg>
        <pc:cxnChg chg="mod ord">
          <ac:chgData name="Jorge Costa" userId="6f0ed375-7d90-4a84-93f2-03ffaae48f30" providerId="ADAL" clId="{D711CBB1-0BD3-48F1-8236-238A8F9303FA}" dt="2023-12-13T18:15:27.815" v="2812"/>
          <ac:cxnSpMkLst>
            <pc:docMk/>
            <pc:sldMk cId="1153576615" sldId="2147375801"/>
            <ac:cxnSpMk id="127" creationId="{69397F95-5799-D447-20A8-C8400C7B4238}"/>
          </ac:cxnSpMkLst>
        </pc:cxnChg>
        <pc:cxnChg chg="mod ord">
          <ac:chgData name="Jorge Costa" userId="6f0ed375-7d90-4a84-93f2-03ffaae48f30" providerId="ADAL" clId="{D711CBB1-0BD3-48F1-8236-238A8F9303FA}" dt="2023-12-13T15:26:09.914" v="1209"/>
          <ac:cxnSpMkLst>
            <pc:docMk/>
            <pc:sldMk cId="1153576615" sldId="2147375801"/>
            <ac:cxnSpMk id="128" creationId="{389D7311-1DDF-BCC9-692E-4C84A78FE766}"/>
          </ac:cxnSpMkLst>
        </pc:cxnChg>
        <pc:cxnChg chg="mod ord">
          <ac:chgData name="Jorge Costa" userId="6f0ed375-7d90-4a84-93f2-03ffaae48f30" providerId="ADAL" clId="{D711CBB1-0BD3-48F1-8236-238A8F9303FA}" dt="2023-12-13T15:26:09.914" v="1211"/>
          <ac:cxnSpMkLst>
            <pc:docMk/>
            <pc:sldMk cId="1153576615" sldId="2147375801"/>
            <ac:cxnSpMk id="129" creationId="{81418F27-2F5D-1252-DEC3-99F40AEA0F93}"/>
          </ac:cxnSpMkLst>
        </pc:cxnChg>
        <pc:cxnChg chg="mod ord">
          <ac:chgData name="Jorge Costa" userId="6f0ed375-7d90-4a84-93f2-03ffaae48f30" providerId="ADAL" clId="{D711CBB1-0BD3-48F1-8236-238A8F9303FA}" dt="2023-12-13T15:26:09.935" v="1277"/>
          <ac:cxnSpMkLst>
            <pc:docMk/>
            <pc:sldMk cId="1153576615" sldId="2147375801"/>
            <ac:cxnSpMk id="165" creationId="{264CCCDB-B4EB-AAB3-1594-5B37B4D590F3}"/>
          </ac:cxnSpMkLst>
        </pc:cxnChg>
        <pc:cxnChg chg="mod ord">
          <ac:chgData name="Jorge Costa" userId="6f0ed375-7d90-4a84-93f2-03ffaae48f30" providerId="ADAL" clId="{D711CBB1-0BD3-48F1-8236-238A8F9303FA}" dt="2023-12-13T15:26:09.946" v="1311"/>
          <ac:cxnSpMkLst>
            <pc:docMk/>
            <pc:sldMk cId="1153576615" sldId="2147375801"/>
            <ac:cxnSpMk id="178" creationId="{B8CCD7BB-E95E-AE17-91E9-58B719B88578}"/>
          </ac:cxnSpMkLst>
        </pc:cxnChg>
        <pc:cxnChg chg="mod ord">
          <ac:chgData name="Jorge Costa" userId="6f0ed375-7d90-4a84-93f2-03ffaae48f30" providerId="ADAL" clId="{D711CBB1-0BD3-48F1-8236-238A8F9303FA}" dt="2023-12-13T15:26:09.888" v="1089"/>
          <ac:cxnSpMkLst>
            <pc:docMk/>
            <pc:sldMk cId="1153576615" sldId="2147375801"/>
            <ac:cxnSpMk id="179" creationId="{EAA96DDF-684E-BC48-B8B6-0B2BA523B4D9}"/>
          </ac:cxnSpMkLst>
        </pc:cxnChg>
        <pc:cxnChg chg="mod ord">
          <ac:chgData name="Jorge Costa" userId="6f0ed375-7d90-4a84-93f2-03ffaae48f30" providerId="ADAL" clId="{D711CBB1-0BD3-48F1-8236-238A8F9303FA}" dt="2023-12-13T15:26:09.943" v="1307"/>
          <ac:cxnSpMkLst>
            <pc:docMk/>
            <pc:sldMk cId="1153576615" sldId="2147375801"/>
            <ac:cxnSpMk id="180" creationId="{F9ABAB3B-432C-6DF8-AF7E-8D383BB930BD}"/>
          </ac:cxnSpMkLst>
        </pc:cxnChg>
        <pc:cxnChg chg="mod ord">
          <ac:chgData name="Jorge Costa" userId="6f0ed375-7d90-4a84-93f2-03ffaae48f30" providerId="ADAL" clId="{D711CBB1-0BD3-48F1-8236-238A8F9303FA}" dt="2023-12-13T15:26:09.943" v="1305"/>
          <ac:cxnSpMkLst>
            <pc:docMk/>
            <pc:sldMk cId="1153576615" sldId="2147375801"/>
            <ac:cxnSpMk id="181" creationId="{96475D3B-0DE1-5FC3-2F91-7E9BA29410F2}"/>
          </ac:cxnSpMkLst>
        </pc:cxnChg>
        <pc:cxnChg chg="mod ord">
          <ac:chgData name="Jorge Costa" userId="6f0ed375-7d90-4a84-93f2-03ffaae48f30" providerId="ADAL" clId="{D711CBB1-0BD3-48F1-8236-238A8F9303FA}" dt="2023-12-13T15:26:09.946" v="1309"/>
          <ac:cxnSpMkLst>
            <pc:docMk/>
            <pc:sldMk cId="1153576615" sldId="2147375801"/>
            <ac:cxnSpMk id="182" creationId="{7144F826-5507-813E-7693-2030F71C45B1}"/>
          </ac:cxnSpMkLst>
        </pc:cxnChg>
        <pc:cxnChg chg="mod ord">
          <ac:chgData name="Jorge Costa" userId="6f0ed375-7d90-4a84-93f2-03ffaae48f30" providerId="ADAL" clId="{D711CBB1-0BD3-48F1-8236-238A8F9303FA}" dt="2023-12-13T15:26:09.911" v="1177"/>
          <ac:cxnSpMkLst>
            <pc:docMk/>
            <pc:sldMk cId="1153576615" sldId="2147375801"/>
            <ac:cxnSpMk id="239" creationId="{73E3A55E-475B-817C-212B-95A09E44BCFB}"/>
          </ac:cxnSpMkLst>
        </pc:cxnChg>
        <pc:cxnChg chg="del mod ord">
          <ac:chgData name="Jorge Costa" userId="6f0ed375-7d90-4a84-93f2-03ffaae48f30" providerId="ADAL" clId="{D711CBB1-0BD3-48F1-8236-238A8F9303FA}" dt="2023-12-13T18:15:27.946" v="2880"/>
          <ac:cxnSpMkLst>
            <pc:docMk/>
            <pc:sldMk cId="1153576615" sldId="2147375801"/>
            <ac:cxnSpMk id="242" creationId="{F976E0BF-A034-ACC7-B764-B977CED9ACF3}"/>
          </ac:cxnSpMkLst>
        </pc:cxnChg>
        <pc:cxnChg chg="mod ord">
          <ac:chgData name="Jorge Costa" userId="6f0ed375-7d90-4a84-93f2-03ffaae48f30" providerId="ADAL" clId="{D711CBB1-0BD3-48F1-8236-238A8F9303FA}" dt="2023-12-13T15:26:09.911" v="1179"/>
          <ac:cxnSpMkLst>
            <pc:docMk/>
            <pc:sldMk cId="1153576615" sldId="2147375801"/>
            <ac:cxnSpMk id="243" creationId="{C73F5AA8-00D5-6D04-9292-5FE163EBDBB2}"/>
          </ac:cxnSpMkLst>
        </pc:cxnChg>
        <pc:cxnChg chg="mod ord">
          <ac:chgData name="Jorge Costa" userId="6f0ed375-7d90-4a84-93f2-03ffaae48f30" providerId="ADAL" clId="{D711CBB1-0BD3-48F1-8236-238A8F9303FA}" dt="2023-12-13T15:26:09.910" v="1173"/>
          <ac:cxnSpMkLst>
            <pc:docMk/>
            <pc:sldMk cId="1153576615" sldId="2147375801"/>
            <ac:cxnSpMk id="245" creationId="{D2FB6F13-B20C-DA56-18B6-EB255D36B5C4}"/>
          </ac:cxnSpMkLst>
        </pc:cxnChg>
      </pc:sldChg>
    </pc:docChg>
  </pc:docChgLst>
  <pc:docChgLst>
    <pc:chgData name="Jorge Costa" userId="S::jorge.costa@hypatos.ai::6f0ed375-7d90-4a84-93f2-03ffaae48f30" providerId="AD" clId="Web-{B2320AA0-0A1C-5B06-3AD2-DE940A494944}"/>
    <pc:docChg chg="modSld">
      <pc:chgData name="Jorge Costa" userId="S::jorge.costa@hypatos.ai::6f0ed375-7d90-4a84-93f2-03ffaae48f30" providerId="AD" clId="Web-{B2320AA0-0A1C-5B06-3AD2-DE940A494944}" dt="2023-12-13T15:25:21.419" v="1" actId="1076"/>
      <pc:docMkLst>
        <pc:docMk/>
      </pc:docMkLst>
      <pc:sldChg chg="modSp">
        <pc:chgData name="Jorge Costa" userId="S::jorge.costa@hypatos.ai::6f0ed375-7d90-4a84-93f2-03ffaae48f30" providerId="AD" clId="Web-{B2320AA0-0A1C-5B06-3AD2-DE940A494944}" dt="2023-12-13T15:25:21.419" v="1" actId="1076"/>
        <pc:sldMkLst>
          <pc:docMk/>
          <pc:sldMk cId="1153576615" sldId="2147375801"/>
        </pc:sldMkLst>
        <pc:cxnChg chg="mod">
          <ac:chgData name="Jorge Costa" userId="S::jorge.costa@hypatos.ai::6f0ed375-7d90-4a84-93f2-03ffaae48f30" providerId="AD" clId="Web-{B2320AA0-0A1C-5B06-3AD2-DE940A494944}" dt="2023-12-13T15:25:21.419" v="1" actId="1076"/>
          <ac:cxnSpMkLst>
            <pc:docMk/>
            <pc:sldMk cId="1153576615" sldId="2147375801"/>
            <ac:cxnSpMk id="165" creationId="{264CCCDB-B4EB-AAB3-1594-5B37B4D590F3}"/>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xml"/><Relationship Id="rId1" Type="http://schemas.microsoft.com/office/2011/relationships/chartStyle" Target="style2.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720438527799531E-2"/>
          <c:y val="6.8632189463508936E-2"/>
          <c:w val="0.8433829287392326"/>
          <c:h val="0.86273562107298207"/>
        </c:manualLayout>
      </c:layout>
      <c:barChart>
        <c:barDir val="bar"/>
        <c:grouping val="stacked"/>
        <c:varyColors val="0"/>
        <c:ser>
          <c:idx val="0"/>
          <c:order val="0"/>
          <c:spPr>
            <a:solidFill>
              <a:srgbClr val="C6D5FF"/>
            </a:solidFill>
            <a:ln>
              <a:noFill/>
            </a:ln>
          </c:spPr>
          <c:invertIfNegative val="0"/>
          <c:dLbls>
            <c:dLbl>
              <c:idx val="0"/>
              <c:layout>
                <c:manualLayout>
                  <c:x val="0.45105716523101019"/>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D1-414A-9F70-5ACCE75F3ACC}"/>
                </c:ext>
              </c:extLst>
            </c:dLbl>
            <c:dLbl>
              <c:idx val="1"/>
              <c:layout>
                <c:manualLayout>
                  <c:x val="0.43148003132341423"/>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D1-414A-9F70-5ACCE75F3ACC}"/>
                </c:ext>
              </c:extLst>
            </c:dLbl>
            <c:dLbl>
              <c:idx val="2"/>
              <c:layout>
                <c:manualLayout>
                  <c:x val="0.46985121378230227"/>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D1-414A-9F70-5ACCE75F3ACC}"/>
                </c:ext>
              </c:extLst>
            </c:dLbl>
            <c:dLbl>
              <c:idx val="3"/>
              <c:layout>
                <c:manualLayout>
                  <c:x val="0.47454972592012529"/>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D1-414A-9F70-5ACCE75F3ACC}"/>
                </c:ext>
              </c:extLst>
            </c:dLbl>
            <c:dLbl>
              <c:idx val="4"/>
              <c:layout>
                <c:manualLayout>
                  <c:x val="0.42991386061080655"/>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D1-414A-9F70-5ACCE75F3ACC}"/>
                </c:ext>
              </c:extLst>
            </c:dLbl>
            <c:dLbl>
              <c:idx val="5"/>
              <c:layout>
                <c:manualLayout>
                  <c:x val="0.47846515270164447"/>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0D1-414A-9F70-5ACCE75F3ACC}"/>
                </c:ext>
              </c:extLst>
            </c:dLbl>
            <c:dLbl>
              <c:idx val="6"/>
              <c:layout>
                <c:manualLayout>
                  <c:x val="0.45105716523101019"/>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D1-414A-9F70-5ACCE75F3ACC}"/>
                </c:ext>
              </c:extLst>
            </c:dLbl>
            <c:dLbl>
              <c:idx val="7"/>
              <c:layout>
                <c:manualLayout>
                  <c:x val="0.46123727486296007"/>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0D1-414A-9F70-5ACCE75F3ACC}"/>
                </c:ext>
              </c:extLst>
            </c:dLbl>
            <c:dLbl>
              <c:idx val="8"/>
              <c:layout>
                <c:manualLayout>
                  <c:x val="0.46906812842599843"/>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0D1-414A-9F70-5ACCE75F3ACC}"/>
                </c:ext>
              </c:extLst>
            </c:dLbl>
            <c:dLbl>
              <c:idx val="9"/>
              <c:layout>
                <c:manualLayout>
                  <c:x val="0.46593578700078309"/>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0D1-414A-9F70-5ACCE75F3ACC}"/>
                </c:ext>
              </c:extLst>
            </c:dLbl>
            <c:dLbl>
              <c:idx val="10"/>
              <c:layout>
                <c:manualLayout>
                  <c:x val="0.47846515270164447"/>
                  <c:y val="-4.3499275012083135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0D1-414A-9F70-5ACCE75F3A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92.6</c:v>
                </c:pt>
                <c:pt idx="1">
                  <c:v>88</c:v>
                </c:pt>
                <c:pt idx="2">
                  <c:v>97</c:v>
                </c:pt>
                <c:pt idx="3">
                  <c:v>98.1</c:v>
                </c:pt>
                <c:pt idx="4">
                  <c:v>87.5</c:v>
                </c:pt>
                <c:pt idx="5">
                  <c:v>98.9</c:v>
                </c:pt>
                <c:pt idx="6">
                  <c:v>92.6</c:v>
                </c:pt>
                <c:pt idx="7">
                  <c:v>95</c:v>
                </c:pt>
                <c:pt idx="8">
                  <c:v>96.6</c:v>
                </c:pt>
                <c:pt idx="9">
                  <c:v>96</c:v>
                </c:pt>
                <c:pt idx="10">
                  <c:v>99</c:v>
                </c:pt>
              </c:numCache>
            </c:numRef>
          </c:val>
          <c:extLst>
            <c:ext xmlns:c16="http://schemas.microsoft.com/office/drawing/2014/chart" uri="{C3380CC4-5D6E-409C-BE32-E72D297353CC}">
              <c16:uniqueId val="{0000000B-F0D1-414A-9F70-5ACCE75F3ACC}"/>
            </c:ext>
          </c:extLst>
        </c:ser>
        <c:dLbls>
          <c:showLegendKey val="0"/>
          <c:showVal val="0"/>
          <c:showCatName val="0"/>
          <c:showSerName val="0"/>
          <c:showPercent val="0"/>
          <c:showBubbleSize val="0"/>
        </c:dLbls>
        <c:gapWidth val="80"/>
        <c:overlap val="100"/>
        <c:axId val="821830751"/>
        <c:axId val="1"/>
      </c:barChart>
      <c:catAx>
        <c:axId val="82183075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
          <c:min val="0"/>
        </c:scaling>
        <c:delete val="1"/>
        <c:axPos val="t"/>
        <c:numFmt formatCode="General" sourceLinked="1"/>
        <c:majorTickMark val="out"/>
        <c:minorTickMark val="none"/>
        <c:tickLblPos val="nextTo"/>
        <c:crossAx val="821830751"/>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7EE4-7249-8FC7-C24C9E51FBDB}"/>
              </c:ext>
            </c:extLst>
          </c:dPt>
          <c:dPt>
            <c:idx val="1"/>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03-7EE4-7249-8FC7-C24C9E51FBDB}"/>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5-7EE4-7249-8FC7-C24C9E51FBDB}"/>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7-7EE4-7249-8FC7-C24C9E51FBDB}"/>
              </c:ext>
            </c:extLst>
          </c:dPt>
          <c:dPt>
            <c:idx val="5"/>
            <c:invertIfNegative val="0"/>
            <c:bubble3D val="0"/>
            <c:spPr>
              <a:solidFill>
                <a:srgbClr val="C6F4E9"/>
              </a:solidFill>
              <a:ln>
                <a:noFill/>
              </a:ln>
              <a:effectLst/>
            </c:spPr>
            <c:extLst>
              <c:ext xmlns:c16="http://schemas.microsoft.com/office/drawing/2014/chart" uri="{C3380CC4-5D6E-409C-BE32-E72D297353CC}">
                <c16:uniqueId val="{00000009-7EE4-7249-8FC7-C24C9E51FBDB}"/>
              </c:ext>
            </c:extLst>
          </c:dPt>
          <c:dPt>
            <c:idx val="6"/>
            <c:invertIfNegative val="0"/>
            <c:bubble3D val="0"/>
            <c:spPr>
              <a:solidFill>
                <a:schemeClr val="accent6"/>
              </a:solidFill>
              <a:ln>
                <a:noFill/>
              </a:ln>
              <a:effectLst/>
            </c:spPr>
            <c:extLst>
              <c:ext xmlns:c16="http://schemas.microsoft.com/office/drawing/2014/chart" uri="{C3380CC4-5D6E-409C-BE32-E72D297353CC}">
                <c16:uniqueId val="{0000000B-7EE4-7249-8FC7-C24C9E51FBDB}"/>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Open Sauce One"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1:$G$1</c:f>
              <c:strCache>
                <c:ptCount val="7"/>
                <c:pt idx="0">
                  <c:v>Discovery</c:v>
                </c:pt>
                <c:pt idx="1">
                  <c:v>Scope</c:v>
                </c:pt>
                <c:pt idx="2">
                  <c:v>Organization buy-in</c:v>
                </c:pt>
                <c:pt idx="3">
                  <c:v>Validation</c:v>
                </c:pt>
                <c:pt idx="4">
                  <c:v>Negotiate</c:v>
                </c:pt>
                <c:pt idx="5">
                  <c:v>Closed/Won</c:v>
                </c:pt>
                <c:pt idx="6">
                  <c:v>Closed/Lost</c:v>
                </c:pt>
              </c:strCache>
            </c:strRef>
          </c:cat>
          <c:val>
            <c:numRef>
              <c:f>Munka1!$A$2:$G$2</c:f>
              <c:numCache>
                <c:formatCode>General</c:formatCode>
                <c:ptCount val="7"/>
                <c:pt idx="0">
                  <c:v>48</c:v>
                </c:pt>
                <c:pt idx="1">
                  <c:v>32</c:v>
                </c:pt>
                <c:pt idx="2">
                  <c:v>12</c:v>
                </c:pt>
                <c:pt idx="3">
                  <c:v>25</c:v>
                </c:pt>
                <c:pt idx="4">
                  <c:v>11</c:v>
                </c:pt>
                <c:pt idx="5">
                  <c:v>16</c:v>
                </c:pt>
                <c:pt idx="6">
                  <c:v>70</c:v>
                </c:pt>
              </c:numCache>
            </c:numRef>
          </c:val>
          <c:extLst>
            <c:ext xmlns:c16="http://schemas.microsoft.com/office/drawing/2014/chart" uri="{C3380CC4-5D6E-409C-BE32-E72D297353CC}">
              <c16:uniqueId val="{0000000C-7EE4-7249-8FC7-C24C9E51FBDB}"/>
            </c:ext>
          </c:extLst>
        </c:ser>
        <c:dLbls>
          <c:showLegendKey val="0"/>
          <c:showVal val="0"/>
          <c:showCatName val="0"/>
          <c:showSerName val="0"/>
          <c:showPercent val="0"/>
          <c:showBubbleSize val="0"/>
        </c:dLbls>
        <c:gapWidth val="219"/>
        <c:overlap val="-27"/>
        <c:axId val="1705498272"/>
        <c:axId val="1705878736"/>
      </c:barChart>
      <c:catAx>
        <c:axId val="1705498272"/>
        <c:scaling>
          <c:orientation val="minMax"/>
        </c:scaling>
        <c:delete val="0"/>
        <c:axPos val="b"/>
        <c:numFmt formatCode="General" sourceLinked="1"/>
        <c:majorTickMark val="none"/>
        <c:minorTickMark val="none"/>
        <c:tickLblPos val="nextTo"/>
        <c:spPr>
          <a:noFill/>
          <a:ln w="9525" cap="flat" cmpd="sng" algn="ctr">
            <a:solidFill>
              <a:schemeClr val="accent5">
                <a:lumMod val="20000"/>
                <a:lumOff val="80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Open Sauce One" pitchFamily="2" charset="0"/>
                <a:ea typeface="+mn-ea"/>
                <a:cs typeface="+mn-cs"/>
              </a:defRPr>
            </a:pPr>
            <a:endParaRPr lang="en-US"/>
          </a:p>
        </c:txPr>
        <c:crossAx val="1705878736"/>
        <c:crosses val="autoZero"/>
        <c:auto val="1"/>
        <c:lblAlgn val="ctr"/>
        <c:lblOffset val="100"/>
        <c:noMultiLvlLbl val="0"/>
      </c:catAx>
      <c:valAx>
        <c:axId val="1705878736"/>
        <c:scaling>
          <c:orientation val="minMax"/>
        </c:scaling>
        <c:delete val="0"/>
        <c:axPos val="l"/>
        <c:majorGridlines>
          <c:spPr>
            <a:ln w="6350" cap="flat" cmpd="sng" algn="ctr">
              <a:solidFill>
                <a:schemeClr val="accent5">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lumMod val="50000"/>
                  </a:schemeClr>
                </a:solidFill>
                <a:latin typeface="Open Sauce One" pitchFamily="2" charset="0"/>
                <a:ea typeface="+mn-ea"/>
                <a:cs typeface="+mn-cs"/>
              </a:defRPr>
            </a:pPr>
            <a:endParaRPr lang="en-US"/>
          </a:p>
        </c:txPr>
        <c:crossAx val="1705498272"/>
        <c:crosses val="autoZero"/>
        <c:crossBetween val="between"/>
      </c:valAx>
      <c:spPr>
        <a:noFill/>
        <a:ln w="635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68369646882047E-2"/>
          <c:y val="0.22844344904815231"/>
          <c:w val="0.92186326070623592"/>
          <c:h val="0.61254199328107506"/>
        </c:manualLayout>
      </c:layout>
      <c:barChart>
        <c:barDir val="col"/>
        <c:grouping val="stacked"/>
        <c:varyColors val="0"/>
        <c:ser>
          <c:idx val="0"/>
          <c:order val="0"/>
          <c:spPr>
            <a:solidFill>
              <a:srgbClr val="AAC1FF"/>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0-2B5F-4E18-9ACC-AEB9D915AEAF}"/>
              </c:ext>
            </c:extLst>
          </c:dPt>
          <c:dLbls>
            <c:dLbl>
              <c:idx val="0"/>
              <c:layout>
                <c:manualLayout>
                  <c:x val="0"/>
                  <c:y val="-0.3303471444568869"/>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5F-4E18-9ACC-AEB9D915AEAF}"/>
                </c:ext>
              </c:extLst>
            </c:dLbl>
            <c:dLbl>
              <c:idx val="1"/>
              <c:layout>
                <c:manualLayout>
                  <c:x val="0"/>
                  <c:y val="-0.37513997760358342"/>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5F-4E18-9ACC-AEB9D915AE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1</c:v>
                </c:pt>
                <c:pt idx="1">
                  <c:v>95</c:v>
                </c:pt>
              </c:numCache>
            </c:numRef>
          </c:val>
          <c:extLst>
            <c:ext xmlns:c16="http://schemas.microsoft.com/office/drawing/2014/chart" uri="{C3380CC4-5D6E-409C-BE32-E72D297353CC}">
              <c16:uniqueId val="{00000002-2B5F-4E18-9ACC-AEB9D915AEAF}"/>
            </c:ext>
          </c:extLst>
        </c:ser>
        <c:dLbls>
          <c:showLegendKey val="0"/>
          <c:showVal val="0"/>
          <c:showCatName val="0"/>
          <c:showSerName val="0"/>
          <c:showPercent val="0"/>
          <c:showBubbleSize val="0"/>
        </c:dLbls>
        <c:gapWidth val="200"/>
        <c:overlap val="100"/>
        <c:axId val="1901387791"/>
        <c:axId val="1"/>
      </c:barChart>
      <c:catAx>
        <c:axId val="19013877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5"/>
          <c:min val="0"/>
        </c:scaling>
        <c:delete val="1"/>
        <c:axPos val="l"/>
        <c:numFmt formatCode="General" sourceLinked="1"/>
        <c:majorTickMark val="out"/>
        <c:minorTickMark val="none"/>
        <c:tickLblPos val="nextTo"/>
        <c:crossAx val="190138779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304610733182165E-2"/>
          <c:y val="3.4993270524899055E-2"/>
          <c:w val="0.81405895691609975"/>
          <c:h val="0.93001345895020193"/>
        </c:manualLayout>
      </c:layout>
      <c:barChart>
        <c:barDir val="bar"/>
        <c:grouping val="stacked"/>
        <c:varyColors val="0"/>
        <c:ser>
          <c:idx val="0"/>
          <c:order val="0"/>
          <c:spPr>
            <a:solidFill>
              <a:srgbClr val="C6D5FF"/>
            </a:solidFill>
            <a:ln>
              <a:noFill/>
            </a:ln>
          </c:spPr>
          <c:invertIfNegative val="0"/>
          <c:dLbls>
            <c:dLbl>
              <c:idx val="0"/>
              <c:layout>
                <c:manualLayout>
                  <c:x val="0.43764172335600909"/>
                  <c:y val="-6.0565275908479139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C9-40D4-BCBF-BEAA4AE68F3A}"/>
                </c:ext>
              </c:extLst>
            </c:dLbl>
            <c:dLbl>
              <c:idx val="1"/>
              <c:layout>
                <c:manualLayout>
                  <c:x val="0.47921390778533635"/>
                  <c:y val="-6.0565275908479139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C9-40D4-BCBF-BEAA4AE68F3A}"/>
                </c:ext>
              </c:extLst>
            </c:dLbl>
            <c:dLbl>
              <c:idx val="2"/>
              <c:layout>
                <c:manualLayout>
                  <c:x val="0.38095238095238093"/>
                  <c:y val="-6.0565275908479139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C9-40D4-BCBF-BEAA4AE68F3A}"/>
                </c:ext>
              </c:extLst>
            </c:dLbl>
            <c:dLbl>
              <c:idx val="3"/>
              <c:layout>
                <c:manualLayout>
                  <c:x val="0.41798941798941797"/>
                  <c:y val="-6.0565275908479139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C9-40D4-BCBF-BEAA4AE68F3A}"/>
                </c:ext>
              </c:extLst>
            </c:dLbl>
            <c:dLbl>
              <c:idx val="4"/>
              <c:layout>
                <c:manualLayout>
                  <c:x val="0.43008314436885864"/>
                  <c:y val="-6.0565275908479139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C9-40D4-BCBF-BEAA4AE68F3A}"/>
                </c:ext>
              </c:extLst>
            </c:dLbl>
            <c:dLbl>
              <c:idx val="5"/>
              <c:layout>
                <c:manualLayout>
                  <c:x val="0.40513983371126228"/>
                  <c:y val="-6.0565275908479139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C9-40D4-BCBF-BEAA4AE68F3A}"/>
                </c:ext>
              </c:extLst>
            </c:dLbl>
            <c:dLbl>
              <c:idx val="6"/>
              <c:layout>
                <c:manualLayout>
                  <c:x val="0.40513983371126228"/>
                  <c:y val="-6.0565275908479139E-3"/>
                </c:manualLayout>
              </c:layout>
              <c:numFmt formatCode="#,##0;&quot;-&quot;#,##0" sourceLinked="0"/>
              <c:spPr>
                <a:noFill/>
                <a:ln>
                  <a:noFill/>
                </a:ln>
              </c:spPr>
              <c:txPr>
                <a:bodyPr wrap="none"/>
                <a:lstStyle/>
                <a:p>
                  <a:pPr>
                    <a:defRPr sz="1000" kern="1200">
                      <a:solidFill>
                        <a:schemeClr val="bg1">
                          <a:lumMod val="50000"/>
                        </a:schemeClr>
                      </a:solidFill>
                      <a:latin typeface="Lato"/>
                      <a:ea typeface="Lato"/>
                      <a:cs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C9-40D4-BCBF-BEAA4AE68F3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4</c:v>
                </c:pt>
                <c:pt idx="1">
                  <c:v>100</c:v>
                </c:pt>
                <c:pt idx="2">
                  <c:v>80</c:v>
                </c:pt>
                <c:pt idx="3">
                  <c:v>89</c:v>
                </c:pt>
                <c:pt idx="4">
                  <c:v>92</c:v>
                </c:pt>
                <c:pt idx="5">
                  <c:v>86</c:v>
                </c:pt>
                <c:pt idx="6">
                  <c:v>86</c:v>
                </c:pt>
              </c:numCache>
            </c:numRef>
          </c:val>
          <c:extLst>
            <c:ext xmlns:c16="http://schemas.microsoft.com/office/drawing/2014/chart" uri="{C3380CC4-5D6E-409C-BE32-E72D297353CC}">
              <c16:uniqueId val="{00000007-71C9-40D4-BCBF-BEAA4AE68F3A}"/>
            </c:ext>
          </c:extLst>
        </c:ser>
        <c:dLbls>
          <c:showLegendKey val="0"/>
          <c:showVal val="0"/>
          <c:showCatName val="0"/>
          <c:showSerName val="0"/>
          <c:showPercent val="0"/>
          <c:showBubbleSize val="0"/>
        </c:dLbls>
        <c:gapWidth val="80"/>
        <c:overlap val="100"/>
        <c:axId val="307274576"/>
        <c:axId val="1"/>
      </c:barChart>
      <c:catAx>
        <c:axId val="30727457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30727457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784841075794622E-2"/>
          <c:y val="0.1715076071922545"/>
          <c:w val="0.9364303178484108"/>
          <c:h val="0.75656984785615489"/>
        </c:manualLayout>
      </c:layout>
      <c:barChart>
        <c:barDir val="col"/>
        <c:grouping val="stacked"/>
        <c:varyColors val="0"/>
        <c:ser>
          <c:idx val="0"/>
          <c:order val="0"/>
          <c:spPr>
            <a:solidFill>
              <a:srgbClr val="AAC1FF"/>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0-84C1-464F-B620-D06DA4BECF8F}"/>
              </c:ext>
            </c:extLst>
          </c:dPt>
          <c:dLbls>
            <c:dLbl>
              <c:idx val="0"/>
              <c:layout>
                <c:manualLayout>
                  <c:x val="0"/>
                  <c:y val="-0.45504840940525587"/>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C1-464F-B620-D06DA4BECF8F}"/>
                </c:ext>
              </c:extLst>
            </c:dLbl>
            <c:dLbl>
              <c:idx val="1"/>
              <c:layout>
                <c:manualLayout>
                  <c:x val="0"/>
                  <c:y val="-0.46473029045643155"/>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C1-464F-B620-D06DA4BECF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0</c:v>
                </c:pt>
                <c:pt idx="1">
                  <c:v>92</c:v>
                </c:pt>
              </c:numCache>
            </c:numRef>
          </c:val>
          <c:extLst>
            <c:ext xmlns:c16="http://schemas.microsoft.com/office/drawing/2014/chart" uri="{C3380CC4-5D6E-409C-BE32-E72D297353CC}">
              <c16:uniqueId val="{00000002-84C1-464F-B620-D06DA4BECF8F}"/>
            </c:ext>
          </c:extLst>
        </c:ser>
        <c:dLbls>
          <c:showLegendKey val="0"/>
          <c:showVal val="0"/>
          <c:showCatName val="0"/>
          <c:showSerName val="0"/>
          <c:showPercent val="0"/>
          <c:showBubbleSize val="0"/>
        </c:dLbls>
        <c:gapWidth val="200"/>
        <c:overlap val="100"/>
        <c:axId val="319894048"/>
        <c:axId val="1"/>
      </c:barChart>
      <c:catAx>
        <c:axId val="3198940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2"/>
          <c:min val="0"/>
        </c:scaling>
        <c:delete val="1"/>
        <c:axPos val="l"/>
        <c:numFmt formatCode="General" sourceLinked="1"/>
        <c:majorTickMark val="out"/>
        <c:minorTickMark val="none"/>
        <c:tickLblPos val="nextTo"/>
        <c:crossAx val="31989404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030482641828961E-2"/>
          <c:y val="2.914798206278027E-2"/>
          <c:w val="0.91193903471634208"/>
          <c:h val="0.94170403587443952"/>
        </c:manualLayout>
      </c:layout>
      <c:barChart>
        <c:barDir val="bar"/>
        <c:grouping val="stacked"/>
        <c:varyColors val="0"/>
        <c:ser>
          <c:idx val="0"/>
          <c:order val="0"/>
          <c:spPr>
            <a:solidFill>
              <a:srgbClr val="C6D5FF"/>
            </a:solidFill>
            <a:ln>
              <a:noFill/>
            </a:ln>
          </c:spPr>
          <c:invertIfNegative val="0"/>
          <c:dLbls>
            <c:dLbl>
              <c:idx val="0"/>
              <c:layout>
                <c:manualLayout>
                  <c:x val="-8.4674005080440302E-4"/>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Open Sauce One"/>
                      <a:cs typeface="Open Sauce One"/>
                      <a:sym typeface="Open Sauce On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39-47CF-8A78-46E64B6B2677}"/>
                </c:ext>
              </c:extLst>
            </c:dLbl>
            <c:dLbl>
              <c:idx val="1"/>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Open Sauce One"/>
                      <a:cs typeface="Open Sauce One"/>
                      <a:sym typeface="Open Sauce On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39-47CF-8A78-46E64B6B2677}"/>
                </c:ext>
              </c:extLst>
            </c:dLbl>
            <c:dLbl>
              <c:idx val="2"/>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Open Sauce One"/>
                      <a:cs typeface="Open Sauce One"/>
                      <a:sym typeface="Open Sauce On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39-47CF-8A78-46E64B6B2677}"/>
                </c:ext>
              </c:extLst>
            </c:dLbl>
            <c:dLbl>
              <c:idx val="3"/>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Open Sauce One"/>
                      <a:cs typeface="Open Sauce One"/>
                      <a:sym typeface="Open Sauce On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39-47CF-8A78-46E64B6B2677}"/>
                </c:ext>
              </c:extLst>
            </c:dLbl>
            <c:dLbl>
              <c:idx val="4"/>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Open Sauce One"/>
                      <a:cs typeface="Open Sauce One"/>
                      <a:sym typeface="Open Sauce On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39-47CF-8A78-46E64B6B2677}"/>
                </c:ext>
              </c:extLst>
            </c:dLbl>
            <c:dLbl>
              <c:idx val="5"/>
              <c:layout>
                <c:manualLayout>
                  <c:x val="-8.4674005080440302E-4"/>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Open Sauce One"/>
                      <a:cs typeface="Open Sauce One"/>
                      <a:sym typeface="Open Sauce On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39-47CF-8A78-46E64B6B2677}"/>
                </c:ext>
              </c:extLst>
            </c:dLbl>
            <c:dLbl>
              <c:idx val="6"/>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Open Sauce One"/>
                      <a:cs typeface="Open Sauce One"/>
                      <a:sym typeface="Open Sauce On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39-47CF-8A78-46E64B6B2677}"/>
                </c:ext>
              </c:extLst>
            </c:dLbl>
            <c:dLbl>
              <c:idx val="7"/>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Open Sauce One"/>
                      <a:cs typeface="Open Sauce One"/>
                      <a:sym typeface="Open Sauce On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39-47CF-8A78-46E64B6B2677}"/>
                </c:ext>
              </c:extLst>
            </c:dLbl>
            <c:dLbl>
              <c:idx val="8"/>
              <c:layout>
                <c:manualLayout>
                  <c:x val="-8.4674005080440302E-4"/>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Open Sauce One"/>
                      <a:cs typeface="Open Sauce One"/>
                      <a:sym typeface="Open Sauce On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39-47CF-8A78-46E64B6B26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89.99</c:v>
                </c:pt>
                <c:pt idx="1">
                  <c:v>75.47</c:v>
                </c:pt>
                <c:pt idx="2">
                  <c:v>93.47</c:v>
                </c:pt>
                <c:pt idx="3">
                  <c:v>93.5</c:v>
                </c:pt>
                <c:pt idx="4">
                  <c:v>88.16</c:v>
                </c:pt>
                <c:pt idx="5">
                  <c:v>96.11</c:v>
                </c:pt>
                <c:pt idx="6">
                  <c:v>43.03</c:v>
                </c:pt>
                <c:pt idx="7">
                  <c:v>84</c:v>
                </c:pt>
                <c:pt idx="8">
                  <c:v>94.7</c:v>
                </c:pt>
              </c:numCache>
            </c:numRef>
          </c:val>
          <c:extLst>
            <c:ext xmlns:c16="http://schemas.microsoft.com/office/drawing/2014/chart" uri="{C3380CC4-5D6E-409C-BE32-E72D297353CC}">
              <c16:uniqueId val="{00000009-3739-47CF-8A78-46E64B6B2677}"/>
            </c:ext>
          </c:extLst>
        </c:ser>
        <c:ser>
          <c:idx val="1"/>
          <c:order val="1"/>
          <c:spPr>
            <a:pattFill prst="ltDnDiag">
              <a:fgClr>
                <a:schemeClr val="tx1"/>
              </a:fgClr>
              <a:bgClr>
                <a:schemeClr val="bg1"/>
              </a:bgClr>
            </a:pattFill>
            <a:ln>
              <a:noFill/>
            </a:ln>
          </c:spPr>
          <c:invertIfNegative val="0"/>
          <c:val>
            <c:numRef>
              <c:f>Sheet1!$A$2:$I$2</c:f>
              <c:numCache>
                <c:formatCode>General</c:formatCode>
                <c:ptCount val="9"/>
                <c:pt idx="1">
                  <c:v>21.349999999999994</c:v>
                </c:pt>
              </c:numCache>
            </c:numRef>
          </c:val>
          <c:extLst>
            <c:ext xmlns:c16="http://schemas.microsoft.com/office/drawing/2014/chart" uri="{C3380CC4-5D6E-409C-BE32-E72D297353CC}">
              <c16:uniqueId val="{0000000A-3739-47CF-8A78-46E64B6B2677}"/>
            </c:ext>
          </c:extLst>
        </c:ser>
        <c:dLbls>
          <c:showLegendKey val="0"/>
          <c:showVal val="0"/>
          <c:showCatName val="0"/>
          <c:showSerName val="0"/>
          <c:showPercent val="0"/>
          <c:showBubbleSize val="0"/>
        </c:dLbls>
        <c:gapWidth val="80"/>
        <c:overlap val="100"/>
        <c:axId val="1616321087"/>
        <c:axId val="1"/>
      </c:barChart>
      <c:catAx>
        <c:axId val="161632108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6.82"/>
          <c:min val="0"/>
        </c:scaling>
        <c:delete val="1"/>
        <c:axPos val="t"/>
        <c:numFmt formatCode="General" sourceLinked="1"/>
        <c:majorTickMark val="out"/>
        <c:minorTickMark val="none"/>
        <c:tickLblPos val="nextTo"/>
        <c:crossAx val="161632108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48626144879269E-2"/>
          <c:y val="0.1715076071922545"/>
          <c:w val="0.95670274771024144"/>
          <c:h val="0.75656984785615489"/>
        </c:manualLayout>
      </c:layout>
      <c:barChart>
        <c:barDir val="col"/>
        <c:grouping val="stacked"/>
        <c:varyColors val="0"/>
        <c:ser>
          <c:idx val="0"/>
          <c:order val="0"/>
          <c:spPr>
            <a:solidFill>
              <a:srgbClr val="AAC1FF"/>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0-4066-4AD1-BDE8-8F3062F2ED6E}"/>
              </c:ext>
            </c:extLst>
          </c:dPt>
          <c:dPt>
            <c:idx val="2"/>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1-4066-4AD1-BDE8-8F3062F2ED6E}"/>
              </c:ext>
            </c:extLst>
          </c:dPt>
          <c:dLbls>
            <c:dLbl>
              <c:idx val="0"/>
              <c:layout>
                <c:manualLayout>
                  <c:x val="0"/>
                  <c:y val="-0.42600276625172889"/>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66-4AD1-BDE8-8F3062F2ED6E}"/>
                </c:ext>
              </c:extLst>
            </c:dLbl>
            <c:dLbl>
              <c:idx val="1"/>
              <c:layout>
                <c:manualLayout>
                  <c:x val="0"/>
                  <c:y val="-0.44398340248962653"/>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66-4AD1-BDE8-8F3062F2ED6E}"/>
                </c:ext>
              </c:extLst>
            </c:dLbl>
            <c:dLbl>
              <c:idx val="2"/>
              <c:layout>
                <c:manualLayout>
                  <c:x val="0"/>
                  <c:y val="-0.46473029045643155"/>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66-4AD1-BDE8-8F3062F2ED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1</c:v>
                </c:pt>
                <c:pt idx="1">
                  <c:v>85</c:v>
                </c:pt>
                <c:pt idx="2">
                  <c:v>90</c:v>
                </c:pt>
              </c:numCache>
            </c:numRef>
          </c:val>
          <c:extLst>
            <c:ext xmlns:c16="http://schemas.microsoft.com/office/drawing/2014/chart" uri="{C3380CC4-5D6E-409C-BE32-E72D297353CC}">
              <c16:uniqueId val="{00000003-4066-4AD1-BDE8-8F3062F2ED6E}"/>
            </c:ext>
          </c:extLst>
        </c:ser>
        <c:dLbls>
          <c:showLegendKey val="0"/>
          <c:showVal val="0"/>
          <c:showCatName val="0"/>
          <c:showSerName val="0"/>
          <c:showPercent val="0"/>
          <c:showBubbleSize val="0"/>
        </c:dLbls>
        <c:gapWidth val="200"/>
        <c:overlap val="100"/>
        <c:axId val="417708719"/>
        <c:axId val="1"/>
      </c:barChart>
      <c:catAx>
        <c:axId val="4177087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1"/>
        <c:axPos val="l"/>
        <c:numFmt formatCode="General" sourceLinked="1"/>
        <c:majorTickMark val="out"/>
        <c:minorTickMark val="none"/>
        <c:tickLblPos val="nextTo"/>
        <c:crossAx val="41770871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030482641828961E-2"/>
          <c:y val="2.914798206278027E-2"/>
          <c:w val="0.91193903471634208"/>
          <c:h val="0.94170403587443952"/>
        </c:manualLayout>
      </c:layout>
      <c:barChart>
        <c:barDir val="bar"/>
        <c:grouping val="stacked"/>
        <c:varyColors val="0"/>
        <c:ser>
          <c:idx val="0"/>
          <c:order val="0"/>
          <c:spPr>
            <a:solidFill>
              <a:srgbClr val="C6D5FF"/>
            </a:solidFill>
            <a:ln>
              <a:noFill/>
            </a:ln>
          </c:spPr>
          <c:invertIfNegative val="0"/>
          <c:dLbls>
            <c:dLbl>
              <c:idx val="0"/>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D4B-4DFC-A8CF-3B2213333DBE}"/>
                </c:ext>
              </c:extLst>
            </c:dLbl>
            <c:dLbl>
              <c:idx val="1"/>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D4B-4DFC-A8CF-3B2213333DBE}"/>
                </c:ext>
              </c:extLst>
            </c:dLbl>
            <c:dLbl>
              <c:idx val="2"/>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mn-ea"/>
                      <a:cs typeface="+mn-cs"/>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4B-4DFC-A8CF-3B2213333DBE}"/>
                </c:ext>
              </c:extLst>
            </c:dLbl>
            <c:dLbl>
              <c:idx val="3"/>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D4B-4DFC-A8CF-3B2213333DBE}"/>
                </c:ext>
              </c:extLst>
            </c:dLbl>
            <c:dLbl>
              <c:idx val="4"/>
              <c:layout>
                <c:manualLayout>
                  <c:x val="-8.4674005080440302E-4"/>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4B-4DFC-A8CF-3B2213333DBE}"/>
                </c:ext>
              </c:extLst>
            </c:dLbl>
            <c:dLbl>
              <c:idx val="5"/>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mn-ea"/>
                      <a:cs typeface="+mn-cs"/>
                      <a:sym typeface="La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D4B-4DFC-A8CF-3B2213333DBE}"/>
                </c:ext>
              </c:extLst>
            </c:dLbl>
            <c:dLbl>
              <c:idx val="6"/>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D4B-4DFC-A8CF-3B2213333DBE}"/>
                </c:ext>
              </c:extLst>
            </c:dLbl>
            <c:dLbl>
              <c:idx val="7"/>
              <c:layout>
                <c:manualLayout>
                  <c:x val="-8.4674005080440302E-4"/>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D4B-4DFC-A8CF-3B2213333DBE}"/>
                </c:ext>
              </c:extLst>
            </c:dLbl>
            <c:dLbl>
              <c:idx val="8"/>
              <c:layout>
                <c:manualLayout>
                  <c:x val="0"/>
                  <c:y val="1.1210762331838565E-3"/>
                </c:manualLayout>
              </c:layout>
              <c:numFmt formatCode="#,##0;&quot;-&quot;#,##0" sourceLinked="0"/>
              <c:spPr>
                <a:noFill/>
                <a:ln>
                  <a:noFill/>
                </a:ln>
              </c:spPr>
              <c:txPr>
                <a:bodyPr wrap="none"/>
                <a:lstStyle/>
                <a:p>
                  <a:pPr>
                    <a:defRPr sz="8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D4B-4DFC-A8CF-3B2213333D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96.02</c:v>
                </c:pt>
                <c:pt idx="1">
                  <c:v>96.25</c:v>
                </c:pt>
                <c:pt idx="2">
                  <c:v>94.73</c:v>
                </c:pt>
                <c:pt idx="3">
                  <c:v>96.55</c:v>
                </c:pt>
                <c:pt idx="4">
                  <c:v>99.07</c:v>
                </c:pt>
                <c:pt idx="5">
                  <c:v>71.61</c:v>
                </c:pt>
                <c:pt idx="6">
                  <c:v>83.74</c:v>
                </c:pt>
                <c:pt idx="7">
                  <c:v>94.87</c:v>
                </c:pt>
                <c:pt idx="8">
                  <c:v>97.68</c:v>
                </c:pt>
              </c:numCache>
            </c:numRef>
          </c:val>
          <c:extLst>
            <c:ext xmlns:c16="http://schemas.microsoft.com/office/drawing/2014/chart" uri="{C3380CC4-5D6E-409C-BE32-E72D297353CC}">
              <c16:uniqueId val="{00000009-ED4B-4DFC-A8CF-3B2213333DBE}"/>
            </c:ext>
          </c:extLst>
        </c:ser>
        <c:dLbls>
          <c:showLegendKey val="0"/>
          <c:showVal val="0"/>
          <c:showCatName val="0"/>
          <c:showSerName val="0"/>
          <c:showPercent val="0"/>
          <c:showBubbleSize val="0"/>
        </c:dLbls>
        <c:gapWidth val="80"/>
        <c:overlap val="100"/>
        <c:axId val="544164191"/>
        <c:axId val="1"/>
      </c:barChart>
      <c:catAx>
        <c:axId val="544164191"/>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07"/>
          <c:min val="0"/>
        </c:scaling>
        <c:delete val="1"/>
        <c:axPos val="t"/>
        <c:numFmt formatCode="General" sourceLinked="1"/>
        <c:majorTickMark val="out"/>
        <c:minorTickMark val="none"/>
        <c:tickLblPos val="nextTo"/>
        <c:crossAx val="544164191"/>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48626144879269E-2"/>
          <c:y val="0.1715076071922545"/>
          <c:w val="0.95670274771024144"/>
          <c:h val="0.75656984785615489"/>
        </c:manualLayout>
      </c:layout>
      <c:barChart>
        <c:barDir val="col"/>
        <c:grouping val="stacked"/>
        <c:varyColors val="0"/>
        <c:ser>
          <c:idx val="0"/>
          <c:order val="0"/>
          <c:spPr>
            <a:solidFill>
              <a:srgbClr val="AAC1FF"/>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0-23E7-46CE-A77F-1A068FF5CC9D}"/>
              </c:ext>
            </c:extLst>
          </c:dPt>
          <c:dPt>
            <c:idx val="2"/>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01-23E7-46CE-A77F-1A068FF5CC9D}"/>
              </c:ext>
            </c:extLst>
          </c:dPt>
          <c:dLbls>
            <c:dLbl>
              <c:idx val="0"/>
              <c:layout>
                <c:manualLayout>
                  <c:x val="0"/>
                  <c:y val="-0.40802213001383125"/>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3E7-46CE-A77F-1A068FF5CC9D}"/>
                </c:ext>
              </c:extLst>
            </c:dLbl>
            <c:dLbl>
              <c:idx val="1"/>
              <c:layout>
                <c:manualLayout>
                  <c:x val="0"/>
                  <c:y val="-0.45228215767634855"/>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E7-46CE-A77F-1A068FF5CC9D}"/>
                </c:ext>
              </c:extLst>
            </c:dLbl>
            <c:dLbl>
              <c:idx val="2"/>
              <c:layout>
                <c:manualLayout>
                  <c:x val="0"/>
                  <c:y val="-0.46473029045643155"/>
                </c:manualLayout>
              </c:layout>
              <c:numFmt formatCode="#,##0;&quot;-&quot;#,##0" sourceLinked="0"/>
              <c:spPr>
                <a:noFill/>
                <a:ln>
                  <a:noFill/>
                </a:ln>
              </c:spPr>
              <c:txPr>
                <a:bodyPr wrap="none"/>
                <a:lstStyle/>
                <a:p>
                  <a:pPr>
                    <a:defRPr sz="1000" kern="1200">
                      <a:solidFill>
                        <a:schemeClr val="bg1">
                          <a:lumMod val="50000"/>
                        </a:schemeClr>
                      </a:solidFill>
                      <a:latin typeface="Open Sauce One"/>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E7-46CE-A77F-1A068FF5CC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1</c:v>
                </c:pt>
                <c:pt idx="1">
                  <c:v>92</c:v>
                </c:pt>
                <c:pt idx="2">
                  <c:v>95</c:v>
                </c:pt>
              </c:numCache>
            </c:numRef>
          </c:val>
          <c:extLst>
            <c:ext xmlns:c16="http://schemas.microsoft.com/office/drawing/2014/chart" uri="{C3380CC4-5D6E-409C-BE32-E72D297353CC}">
              <c16:uniqueId val="{00000003-23E7-46CE-A77F-1A068FF5CC9D}"/>
            </c:ext>
          </c:extLst>
        </c:ser>
        <c:dLbls>
          <c:showLegendKey val="0"/>
          <c:showVal val="0"/>
          <c:showCatName val="0"/>
          <c:showSerName val="0"/>
          <c:showPercent val="0"/>
          <c:showBubbleSize val="0"/>
        </c:dLbls>
        <c:gapWidth val="200"/>
        <c:overlap val="100"/>
        <c:axId val="638405375"/>
        <c:axId val="1"/>
      </c:barChart>
      <c:catAx>
        <c:axId val="6384053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5"/>
          <c:min val="0"/>
        </c:scaling>
        <c:delete val="1"/>
        <c:axPos val="l"/>
        <c:numFmt formatCode="General" sourceLinked="1"/>
        <c:majorTickMark val="out"/>
        <c:minorTickMark val="none"/>
        <c:tickLblPos val="nextTo"/>
        <c:crossAx val="63840537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Best Case</c:v>
                </c:pt>
              </c:strCache>
            </c:strRef>
          </c:tx>
          <c:spPr>
            <a:solidFill>
              <a:srgbClr val="C6F4E9"/>
            </a:solidFill>
            <a:ln>
              <a:noFill/>
            </a:ln>
            <a:effectLst/>
          </c:spPr>
          <c:invertIfNegative val="0"/>
          <c:cat>
            <c:strRef>
              <c:f>Sheet1!$A$2:$A$5</c:f>
              <c:strCache>
                <c:ptCount val="4"/>
                <c:pt idx="0">
                  <c:v>Last Quarter</c:v>
                </c:pt>
                <c:pt idx="1">
                  <c:v>Current Quarter</c:v>
                </c:pt>
                <c:pt idx="2">
                  <c:v>Today + 1Q</c:v>
                </c:pt>
                <c:pt idx="3">
                  <c:v>Today + 2Q</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9F0-304A-8499-712909274500}"/>
            </c:ext>
          </c:extLst>
        </c:ser>
        <c:ser>
          <c:idx val="1"/>
          <c:order val="1"/>
          <c:tx>
            <c:strRef>
              <c:f>Sheet1!$C$1</c:f>
              <c:strCache>
                <c:ptCount val="1"/>
                <c:pt idx="0">
                  <c:v>Expect</c:v>
                </c:pt>
              </c:strCache>
            </c:strRef>
          </c:tx>
          <c:spPr>
            <a:solidFill>
              <a:schemeClr val="accent5">
                <a:lumMod val="60000"/>
                <a:lumOff val="40000"/>
              </a:schemeClr>
            </a:solidFill>
            <a:ln>
              <a:noFill/>
            </a:ln>
            <a:effectLst/>
          </c:spPr>
          <c:invertIfNegative val="0"/>
          <c:cat>
            <c:strRef>
              <c:f>Sheet1!$A$2:$A$5</c:f>
              <c:strCache>
                <c:ptCount val="4"/>
                <c:pt idx="0">
                  <c:v>Last Quarter</c:v>
                </c:pt>
                <c:pt idx="1">
                  <c:v>Current Quarter</c:v>
                </c:pt>
                <c:pt idx="2">
                  <c:v>Today + 1Q</c:v>
                </c:pt>
                <c:pt idx="3">
                  <c:v>Today + 2Q</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9F0-304A-8499-712909274500}"/>
            </c:ext>
          </c:extLst>
        </c:ser>
        <c:ser>
          <c:idx val="2"/>
          <c:order val="2"/>
          <c:tx>
            <c:strRef>
              <c:f>Sheet1!$D$1</c:f>
              <c:strCache>
                <c:ptCount val="1"/>
                <c:pt idx="0">
                  <c:v>Commit</c:v>
                </c:pt>
              </c:strCache>
            </c:strRef>
          </c:tx>
          <c:spPr>
            <a:solidFill>
              <a:schemeClr val="accent6"/>
            </a:solidFill>
            <a:ln>
              <a:noFill/>
            </a:ln>
            <a:effectLst/>
          </c:spPr>
          <c:invertIfNegative val="0"/>
          <c:cat>
            <c:strRef>
              <c:f>Sheet1!$A$2:$A$5</c:f>
              <c:strCache>
                <c:ptCount val="4"/>
                <c:pt idx="0">
                  <c:v>Last Quarter</c:v>
                </c:pt>
                <c:pt idx="1">
                  <c:v>Current Quarter</c:v>
                </c:pt>
                <c:pt idx="2">
                  <c:v>Today + 1Q</c:v>
                </c:pt>
                <c:pt idx="3">
                  <c:v>Today + 2Q</c:v>
                </c:pt>
              </c:strCache>
            </c:strRef>
          </c:cat>
          <c:val>
            <c:numRef>
              <c:f>Sheet1!$D$2:$D$5</c:f>
              <c:numCache>
                <c:formatCode>General</c:formatCode>
                <c:ptCount val="4"/>
                <c:pt idx="0">
                  <c:v>2</c:v>
                </c:pt>
                <c:pt idx="1">
                  <c:v>2</c:v>
                </c:pt>
                <c:pt idx="2">
                  <c:v>3</c:v>
                </c:pt>
                <c:pt idx="3">
                  <c:v>4</c:v>
                </c:pt>
              </c:numCache>
            </c:numRef>
          </c:val>
          <c:extLst>
            <c:ext xmlns:c16="http://schemas.microsoft.com/office/drawing/2014/chart" uri="{C3380CC4-5D6E-409C-BE32-E72D297353CC}">
              <c16:uniqueId val="{00000002-29F0-304A-8499-712909274500}"/>
            </c:ext>
          </c:extLst>
        </c:ser>
        <c:dLbls>
          <c:showLegendKey val="0"/>
          <c:showVal val="0"/>
          <c:showCatName val="0"/>
          <c:showSerName val="0"/>
          <c:showPercent val="0"/>
          <c:showBubbleSize val="0"/>
        </c:dLbls>
        <c:gapWidth val="219"/>
        <c:overlap val="100"/>
        <c:axId val="1566356256"/>
        <c:axId val="1566345696"/>
      </c:barChart>
      <c:lineChart>
        <c:grouping val="standard"/>
        <c:varyColors val="0"/>
        <c:ser>
          <c:idx val="3"/>
          <c:order val="3"/>
          <c:tx>
            <c:strRef>
              <c:f>Sheet1!$E$1</c:f>
              <c:strCache>
                <c:ptCount val="1"/>
                <c:pt idx="0">
                  <c:v>Target</c:v>
                </c:pt>
              </c:strCache>
            </c:strRef>
          </c:tx>
          <c:spPr>
            <a:ln w="28575" cap="rnd">
              <a:solidFill>
                <a:schemeClr val="accent4"/>
              </a:solidFill>
              <a:round/>
            </a:ln>
            <a:effectLst/>
          </c:spPr>
          <c:marker>
            <c:symbol val="none"/>
          </c:marker>
          <c:cat>
            <c:strRef>
              <c:f>Sheet1!$A$2:$A$5</c:f>
              <c:strCache>
                <c:ptCount val="4"/>
                <c:pt idx="0">
                  <c:v>Last Quarter</c:v>
                </c:pt>
                <c:pt idx="1">
                  <c:v>Current Quarter</c:v>
                </c:pt>
                <c:pt idx="2">
                  <c:v>Today + 1Q</c:v>
                </c:pt>
                <c:pt idx="3">
                  <c:v>Today + 2Q</c:v>
                </c:pt>
              </c:strCache>
            </c:strRef>
          </c:cat>
          <c:val>
            <c:numRef>
              <c:f>Sheet1!$E$2:$E$5</c:f>
              <c:numCache>
                <c:formatCode>General</c:formatCode>
                <c:ptCount val="4"/>
                <c:pt idx="0">
                  <c:v>3</c:v>
                </c:pt>
                <c:pt idx="1">
                  <c:v>3</c:v>
                </c:pt>
                <c:pt idx="2">
                  <c:v>3</c:v>
                </c:pt>
                <c:pt idx="3">
                  <c:v>3</c:v>
                </c:pt>
              </c:numCache>
            </c:numRef>
          </c:val>
          <c:smooth val="0"/>
          <c:extLst>
            <c:ext xmlns:c16="http://schemas.microsoft.com/office/drawing/2014/chart" uri="{C3380CC4-5D6E-409C-BE32-E72D297353CC}">
              <c16:uniqueId val="{00000003-29F0-304A-8499-712909274500}"/>
            </c:ext>
          </c:extLst>
        </c:ser>
        <c:dLbls>
          <c:showLegendKey val="0"/>
          <c:showVal val="0"/>
          <c:showCatName val="0"/>
          <c:showSerName val="0"/>
          <c:showPercent val="0"/>
          <c:showBubbleSize val="0"/>
        </c:dLbls>
        <c:marker val="1"/>
        <c:smooth val="0"/>
        <c:axId val="1566356256"/>
        <c:axId val="1566345696"/>
      </c:lineChart>
      <c:catAx>
        <c:axId val="1566356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Open Sauce One" pitchFamily="2" charset="0"/>
                <a:ea typeface="+mn-ea"/>
                <a:cs typeface="+mn-cs"/>
              </a:defRPr>
            </a:pPr>
            <a:endParaRPr lang="en-US"/>
          </a:p>
        </c:txPr>
        <c:crossAx val="1566345696"/>
        <c:crosses val="autoZero"/>
        <c:auto val="1"/>
        <c:lblAlgn val="ctr"/>
        <c:lblOffset val="100"/>
        <c:noMultiLvlLbl val="0"/>
      </c:catAx>
      <c:valAx>
        <c:axId val="1566345696"/>
        <c:scaling>
          <c:orientation val="minMax"/>
        </c:scaling>
        <c:delete val="0"/>
        <c:axPos val="l"/>
        <c:majorGridlines>
          <c:spPr>
            <a:ln w="9525" cap="flat" cmpd="sng" algn="ctr">
              <a:solidFill>
                <a:schemeClr val="accent5">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lumMod val="65000"/>
                  </a:schemeClr>
                </a:solidFill>
                <a:latin typeface="Open Sauce One" pitchFamily="2" charset="0"/>
                <a:ea typeface="+mn-ea"/>
                <a:cs typeface="+mn-cs"/>
              </a:defRPr>
            </a:pPr>
            <a:endParaRPr lang="en-US"/>
          </a:p>
        </c:txPr>
        <c:crossAx val="1566356256"/>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600" b="0" i="0" u="none" strike="noStrike" kern="1200" baseline="0">
                <a:solidFill>
                  <a:schemeClr val="bg1">
                    <a:lumMod val="50000"/>
                  </a:schemeClr>
                </a:solidFill>
                <a:latin typeface="Open Sauce One" pitchFamily="2" charset="0"/>
                <a:ea typeface="+mn-ea"/>
                <a:cs typeface="+mn-cs"/>
              </a:defRPr>
            </a:pPr>
            <a:endParaRPr lang="en-US"/>
          </a:p>
        </c:txPr>
      </c:legendEntry>
      <c:legendEntry>
        <c:idx val="1"/>
        <c:txPr>
          <a:bodyPr rot="0" spcFirstLastPara="1" vertOverflow="ellipsis" vert="horz" wrap="square" anchor="ctr" anchorCtr="1"/>
          <a:lstStyle/>
          <a:p>
            <a:pPr>
              <a:defRPr sz="600" b="0" i="0" u="none" strike="noStrike" kern="1200" baseline="0">
                <a:solidFill>
                  <a:schemeClr val="bg1">
                    <a:lumMod val="50000"/>
                  </a:schemeClr>
                </a:solidFill>
                <a:latin typeface="Open Sauce One" pitchFamily="2" charset="0"/>
                <a:ea typeface="+mn-ea"/>
                <a:cs typeface="+mn-cs"/>
              </a:defRPr>
            </a:pPr>
            <a:endParaRPr lang="en-US"/>
          </a:p>
        </c:txPr>
      </c:legendEntry>
      <c:legendEntry>
        <c:idx val="2"/>
        <c:txPr>
          <a:bodyPr rot="0" spcFirstLastPara="1" vertOverflow="ellipsis" vert="horz" wrap="square" anchor="ctr" anchorCtr="1"/>
          <a:lstStyle/>
          <a:p>
            <a:pPr>
              <a:defRPr sz="600" b="0" i="0" u="none" strike="noStrike" kern="1200" baseline="0">
                <a:solidFill>
                  <a:schemeClr val="bg1">
                    <a:lumMod val="50000"/>
                  </a:schemeClr>
                </a:solidFill>
                <a:latin typeface="Open Sauce One" pitchFamily="2" charset="0"/>
                <a:ea typeface="+mn-ea"/>
                <a:cs typeface="+mn-cs"/>
              </a:defRPr>
            </a:pPr>
            <a:endParaRPr lang="en-US"/>
          </a:p>
        </c:txPr>
      </c:legendEntry>
      <c:legendEntry>
        <c:idx val="3"/>
        <c:txPr>
          <a:bodyPr rot="0" spcFirstLastPara="1" vertOverflow="ellipsis" vert="horz" wrap="square" anchor="ctr" anchorCtr="1"/>
          <a:lstStyle/>
          <a:p>
            <a:pPr>
              <a:defRPr sz="600" b="0" i="0" u="none" strike="noStrike" kern="1200" baseline="0">
                <a:solidFill>
                  <a:schemeClr val="bg1">
                    <a:lumMod val="50000"/>
                  </a:schemeClr>
                </a:solidFill>
                <a:latin typeface="Open Sauce One" pitchFamily="2" charset="0"/>
                <a:ea typeface="+mn-ea"/>
                <a:cs typeface="+mn-cs"/>
              </a:defRPr>
            </a:pPr>
            <a:endParaRPr lang="en-US"/>
          </a:p>
        </c:txPr>
      </c:legendEntry>
      <c:layout>
        <c:manualLayout>
          <c:xMode val="edge"/>
          <c:yMode val="edge"/>
          <c:x val="2.2367611819927708E-2"/>
          <c:y val="0.85322478220376397"/>
          <c:w val="0.95986978758710306"/>
          <c:h val="0.1012535194187082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Open Sauce One" pitchFamily="2" charset="0"/>
              </a:defRPr>
            </a:lvl1pPr>
          </a:lstStyle>
          <a:p>
            <a:endParaRPr lang="en-US"/>
          </a:p>
        </p:txBody>
      </p:sp>
      <p:sp>
        <p:nvSpPr>
          <p:cNvPr id="3" name="Dátum hely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Open Sauce One" pitchFamily="2" charset="0"/>
              </a:defRPr>
            </a:lvl1pPr>
          </a:lstStyle>
          <a:p>
            <a:fld id="{F8F1DAA2-B4A1-484C-B300-98EDACCAF20E}" type="datetimeFigureOut">
              <a:rPr lang="en-US" smtClean="0"/>
              <a:pPr/>
              <a:t>12/20/2023</a:t>
            </a:fld>
            <a:endParaRPr lang="en-US"/>
          </a:p>
        </p:txBody>
      </p:sp>
      <p:sp>
        <p:nvSpPr>
          <p:cNvPr id="4" name="Diakép hely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Jegyzetek hely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6" name="Élőláb hely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Open Sauce One" pitchFamily="2" charset="0"/>
              </a:defRPr>
            </a:lvl1pPr>
          </a:lstStyle>
          <a:p>
            <a:endParaRPr lang="en-US"/>
          </a:p>
        </p:txBody>
      </p:sp>
      <p:sp>
        <p:nvSpPr>
          <p:cNvPr id="7" name="Dia számának hely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Open Sauce One" pitchFamily="2" charset="0"/>
              </a:defRPr>
            </a:lvl1pPr>
          </a:lstStyle>
          <a:p>
            <a:fld id="{8E55ECEC-4EE4-604E-8AA4-7344F5E1943C}" type="slidenum">
              <a:rPr lang="en-US" smtClean="0"/>
              <a:pPr/>
              <a:t>‹#›</a:t>
            </a:fld>
            <a:endParaRPr lang="en-US"/>
          </a:p>
        </p:txBody>
      </p:sp>
    </p:spTree>
    <p:extLst>
      <p:ext uri="{BB962C8B-B14F-4D97-AF65-F5344CB8AC3E}">
        <p14:creationId xmlns:p14="http://schemas.microsoft.com/office/powerpoint/2010/main" val="3455023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pen Sauce One" pitchFamily="2" charset="0"/>
        <a:ea typeface="+mn-ea"/>
        <a:cs typeface="+mn-cs"/>
      </a:defRPr>
    </a:lvl1pPr>
    <a:lvl2pPr marL="457200" algn="l" defTabSz="914400" rtl="0" eaLnBrk="1" latinLnBrk="0" hangingPunct="1">
      <a:defRPr sz="1200" b="0" i="0" kern="1200">
        <a:solidFill>
          <a:schemeClr val="tx1"/>
        </a:solidFill>
        <a:latin typeface="Open Sauce One" pitchFamily="2" charset="0"/>
        <a:ea typeface="+mn-ea"/>
        <a:cs typeface="+mn-cs"/>
      </a:defRPr>
    </a:lvl2pPr>
    <a:lvl3pPr marL="914400" algn="l" defTabSz="914400" rtl="0" eaLnBrk="1" latinLnBrk="0" hangingPunct="1">
      <a:defRPr sz="1200" b="0" i="0" kern="1200">
        <a:solidFill>
          <a:schemeClr val="tx1"/>
        </a:solidFill>
        <a:latin typeface="Open Sauce One" pitchFamily="2" charset="0"/>
        <a:ea typeface="+mn-ea"/>
        <a:cs typeface="+mn-cs"/>
      </a:defRPr>
    </a:lvl3pPr>
    <a:lvl4pPr marL="1371600" algn="l" defTabSz="914400" rtl="0" eaLnBrk="1" latinLnBrk="0" hangingPunct="1">
      <a:defRPr sz="1200" b="0" i="0" kern="1200">
        <a:solidFill>
          <a:schemeClr val="tx1"/>
        </a:solidFill>
        <a:latin typeface="Open Sauce One" pitchFamily="2" charset="0"/>
        <a:ea typeface="+mn-ea"/>
        <a:cs typeface="+mn-cs"/>
      </a:defRPr>
    </a:lvl4pPr>
    <a:lvl5pPr marL="1828800" algn="l" defTabSz="914400" rtl="0" eaLnBrk="1" latinLnBrk="0" hangingPunct="1">
      <a:defRPr sz="1200" b="0" i="0" kern="1200">
        <a:solidFill>
          <a:schemeClr val="tx1"/>
        </a:solidFill>
        <a:latin typeface="Open Sauce One"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cloud.hypatos.com/projects/kp-pilot-non-po-qa-full-data-set-vw0i524b/64f7396a39bc33dc4a1b2912"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5ECEC-4EE4-604E-8AA4-7344F5E1943C}" type="slidenum">
              <a:rPr lang="en-US" smtClean="0"/>
              <a:pPr/>
              <a:t>1</a:t>
            </a:fld>
            <a:endParaRPr lang="en-US"/>
          </a:p>
        </p:txBody>
      </p:sp>
    </p:spTree>
    <p:extLst>
      <p:ext uri="{BB962C8B-B14F-4D97-AF65-F5344CB8AC3E}">
        <p14:creationId xmlns:p14="http://schemas.microsoft.com/office/powerpoint/2010/main" val="1127876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E55ECEC-4EE4-604E-8AA4-7344F5E1943C}" type="slidenum">
              <a:rPr lang="en-US" smtClean="0"/>
              <a:pPr/>
              <a:t>3</a:t>
            </a:fld>
            <a:endParaRPr lang="en-US"/>
          </a:p>
        </p:txBody>
      </p:sp>
    </p:spTree>
    <p:extLst>
      <p:ext uri="{BB962C8B-B14F-4D97-AF65-F5344CB8AC3E}">
        <p14:creationId xmlns:p14="http://schemas.microsoft.com/office/powerpoint/2010/main" val="392545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5ECEC-4EE4-604E-8AA4-7344F5E1943C}" type="slidenum">
              <a:rPr lang="en-US" smtClean="0"/>
              <a:pPr/>
              <a:t>5</a:t>
            </a:fld>
            <a:endParaRPr lang="en-US"/>
          </a:p>
        </p:txBody>
      </p:sp>
    </p:spTree>
    <p:extLst>
      <p:ext uri="{BB962C8B-B14F-4D97-AF65-F5344CB8AC3E}">
        <p14:creationId xmlns:p14="http://schemas.microsoft.com/office/powerpoint/2010/main" val="25342594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5ECEC-4EE4-604E-8AA4-7344F5E1943C}" type="slidenum">
              <a:rPr lang="en-US" smtClean="0"/>
              <a:pPr/>
              <a:t>6</a:t>
            </a:fld>
            <a:endParaRPr lang="en-US"/>
          </a:p>
        </p:txBody>
      </p:sp>
    </p:spTree>
    <p:extLst>
      <p:ext uri="{BB962C8B-B14F-4D97-AF65-F5344CB8AC3E}">
        <p14:creationId xmlns:p14="http://schemas.microsoft.com/office/powerpoint/2010/main" val="1564326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5ECEC-4EE4-604E-8AA4-7344F5E1943C}" type="slidenum">
              <a:rPr lang="en-US" smtClean="0"/>
              <a:pPr/>
              <a:t>9</a:t>
            </a:fld>
            <a:endParaRPr lang="en-US"/>
          </a:p>
        </p:txBody>
      </p:sp>
    </p:spTree>
    <p:extLst>
      <p:ext uri="{BB962C8B-B14F-4D97-AF65-F5344CB8AC3E}">
        <p14:creationId xmlns:p14="http://schemas.microsoft.com/office/powerpoint/2010/main" val="376739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5ECEC-4EE4-604E-8AA4-7344F5E1943C}" type="slidenum">
              <a:rPr lang="en-US" smtClean="0"/>
              <a:pPr/>
              <a:t>13</a:t>
            </a:fld>
            <a:endParaRPr lang="en-US"/>
          </a:p>
        </p:txBody>
      </p:sp>
    </p:spTree>
    <p:extLst>
      <p:ext uri="{BB962C8B-B14F-4D97-AF65-F5344CB8AC3E}">
        <p14:creationId xmlns:p14="http://schemas.microsoft.com/office/powerpoint/2010/main" val="2563815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5ECEC-4EE4-604E-8AA4-7344F5E1943C}" type="slidenum">
              <a:rPr lang="en-US" smtClean="0"/>
              <a:pPr/>
              <a:t>14</a:t>
            </a:fld>
            <a:endParaRPr lang="en-US"/>
          </a:p>
        </p:txBody>
      </p:sp>
    </p:spTree>
    <p:extLst>
      <p:ext uri="{BB962C8B-B14F-4D97-AF65-F5344CB8AC3E}">
        <p14:creationId xmlns:p14="http://schemas.microsoft.com/office/powerpoint/2010/main" val="3530742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5ECEC-4EE4-604E-8AA4-7344F5E1943C}" type="slidenum">
              <a:rPr lang="en-US" smtClean="0"/>
              <a:pPr/>
              <a:t>15</a:t>
            </a:fld>
            <a:endParaRPr lang="en-US"/>
          </a:p>
        </p:txBody>
      </p:sp>
    </p:spTree>
    <p:extLst>
      <p:ext uri="{BB962C8B-B14F-4D97-AF65-F5344CB8AC3E}">
        <p14:creationId xmlns:p14="http://schemas.microsoft.com/office/powerpoint/2010/main" val="14167239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ypatos Studio</a:t>
            </a:r>
            <a:endParaRPr lang="en-GB" dirty="0"/>
          </a:p>
        </p:txBody>
      </p:sp>
      <p:sp>
        <p:nvSpPr>
          <p:cNvPr id="4" name="Slide Number Placeholder 3"/>
          <p:cNvSpPr>
            <a:spLocks noGrp="1"/>
          </p:cNvSpPr>
          <p:nvPr>
            <p:ph type="sldNum" sz="quarter" idx="5"/>
          </p:nvPr>
        </p:nvSpPr>
        <p:spPr/>
        <p:txBody>
          <a:bodyPr/>
          <a:lstStyle/>
          <a:p>
            <a:fld id="{8E55ECEC-4EE4-604E-8AA4-7344F5E1943C}" type="slidenum">
              <a:rPr lang="en-US" smtClean="0"/>
              <a:pPr/>
              <a:t>16</a:t>
            </a:fld>
            <a:endParaRPr lang="en-US"/>
          </a:p>
        </p:txBody>
      </p:sp>
    </p:spTree>
    <p:extLst>
      <p:ext uri="{BB962C8B-B14F-4D97-AF65-F5344CB8AC3E}">
        <p14:creationId xmlns:p14="http://schemas.microsoft.com/office/powerpoint/2010/main" val="28036040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Téglalap 8">
            <a:extLst>
              <a:ext uri="{FF2B5EF4-FFF2-40B4-BE49-F238E27FC236}">
                <a16:creationId xmlns:a16="http://schemas.microsoft.com/office/drawing/2014/main" id="{278E2B11-0B99-8962-164A-2696A4BD710C}"/>
              </a:ext>
            </a:extLst>
          </p:cNvPr>
          <p:cNvSpPr/>
          <p:nvPr userDrawn="1"/>
        </p:nvSpPr>
        <p:spPr>
          <a:xfrm>
            <a:off x="8128042" y="1"/>
            <a:ext cx="4063958"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8582A95C-80BE-C80D-0767-2B79637390BE}"/>
              </a:ext>
            </a:extLst>
          </p:cNvPr>
          <p:cNvSpPr>
            <a:spLocks noGrp="1"/>
          </p:cNvSpPr>
          <p:nvPr>
            <p:ph type="ctrTitle"/>
          </p:nvPr>
        </p:nvSpPr>
        <p:spPr>
          <a:xfrm>
            <a:off x="415378" y="1422454"/>
            <a:ext cx="5680622" cy="2006545"/>
          </a:xfrm>
        </p:spPr>
        <p:txBody>
          <a:bodyPr anchor="t">
            <a:normAutofit/>
          </a:bodyPr>
          <a:lstStyle>
            <a:lvl1pPr algn="l">
              <a:defRPr sz="4800"/>
            </a:lvl1pPr>
          </a:lstStyle>
          <a:p>
            <a:r>
              <a:rPr lang="hu-HU"/>
              <a:t>Mintacím szerkesztése</a:t>
            </a:r>
            <a:endParaRPr lang="en-US"/>
          </a:p>
        </p:txBody>
      </p:sp>
      <p:sp>
        <p:nvSpPr>
          <p:cNvPr id="3" name="Alcím 2">
            <a:extLst>
              <a:ext uri="{FF2B5EF4-FFF2-40B4-BE49-F238E27FC236}">
                <a16:creationId xmlns:a16="http://schemas.microsoft.com/office/drawing/2014/main" id="{2499ACCB-6411-9C4C-4226-01902F985CED}"/>
              </a:ext>
            </a:extLst>
          </p:cNvPr>
          <p:cNvSpPr>
            <a:spLocks noGrp="1"/>
          </p:cNvSpPr>
          <p:nvPr>
            <p:ph type="subTitle" idx="1"/>
          </p:nvPr>
        </p:nvSpPr>
        <p:spPr>
          <a:xfrm>
            <a:off x="415378" y="3691246"/>
            <a:ext cx="5680622" cy="727122"/>
          </a:xfrm>
        </p:spPr>
        <p:txBody>
          <a:bodyPr lIns="0">
            <a:spAutoFit/>
          </a:bodyPr>
          <a:lstStyle>
            <a:lvl1pPr marL="0" indent="0" algn="l">
              <a:lnSpc>
                <a:spcPct val="120000"/>
              </a:lnSpc>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u-HU"/>
              <a:t>Kattintson ide az alcím mintájának szerkesztéséhez</a:t>
            </a:r>
            <a:endParaRPr lang="en-US"/>
          </a:p>
        </p:txBody>
      </p:sp>
      <p:pic>
        <p:nvPicPr>
          <p:cNvPr id="13" name="Ábra 12">
            <a:extLst>
              <a:ext uri="{FF2B5EF4-FFF2-40B4-BE49-F238E27FC236}">
                <a16:creationId xmlns:a16="http://schemas.microsoft.com/office/drawing/2014/main" id="{79457AE1-AFB7-3B19-EF8F-3043C76FD0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9" y="404813"/>
            <a:ext cx="1758774" cy="355137"/>
          </a:xfrm>
          <a:prstGeom prst="rect">
            <a:avLst/>
          </a:prstGeom>
        </p:spPr>
      </p:pic>
      <p:sp>
        <p:nvSpPr>
          <p:cNvPr id="14" name="Téglalap 13">
            <a:extLst>
              <a:ext uri="{FF2B5EF4-FFF2-40B4-BE49-F238E27FC236}">
                <a16:creationId xmlns:a16="http://schemas.microsoft.com/office/drawing/2014/main" id="{CD5DDE16-3FF3-4A17-342A-F47C795163A7}"/>
              </a:ext>
            </a:extLst>
          </p:cNvPr>
          <p:cNvSpPr/>
          <p:nvPr userDrawn="1"/>
        </p:nvSpPr>
        <p:spPr>
          <a:xfrm>
            <a:off x="407989" y="6191160"/>
            <a:ext cx="1288289" cy="406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uce One" pitchFamily="2" charset="0"/>
            </a:endParaRPr>
          </a:p>
        </p:txBody>
      </p:sp>
      <p:sp>
        <p:nvSpPr>
          <p:cNvPr id="17" name="Szöveg helye 16">
            <a:extLst>
              <a:ext uri="{FF2B5EF4-FFF2-40B4-BE49-F238E27FC236}">
                <a16:creationId xmlns:a16="http://schemas.microsoft.com/office/drawing/2014/main" id="{B26C3A30-1892-DCF4-ADE2-793B44601A94}"/>
              </a:ext>
            </a:extLst>
          </p:cNvPr>
          <p:cNvSpPr>
            <a:spLocks noGrp="1"/>
          </p:cNvSpPr>
          <p:nvPr>
            <p:ph type="body" sz="quarter" idx="10"/>
          </p:nvPr>
        </p:nvSpPr>
        <p:spPr>
          <a:xfrm>
            <a:off x="415378" y="5700254"/>
            <a:ext cx="5688012" cy="327462"/>
          </a:xfrm>
        </p:spPr>
        <p:txBody>
          <a:bodyPr lIns="0">
            <a:spAutoFit/>
          </a:bodyPr>
          <a:lstStyle>
            <a:lvl1pPr marL="0" indent="0">
              <a:lnSpc>
                <a:spcPct val="120000"/>
              </a:lnSpc>
              <a:buNone/>
              <a:defRPr sz="14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hu-HU"/>
              <a:t>Mintaszöveg szerkesztése</a:t>
            </a:r>
            <a:endParaRPr lang="en-US"/>
          </a:p>
        </p:txBody>
      </p:sp>
    </p:spTree>
    <p:extLst>
      <p:ext uri="{BB962C8B-B14F-4D97-AF65-F5344CB8AC3E}">
        <p14:creationId xmlns:p14="http://schemas.microsoft.com/office/powerpoint/2010/main" val="4731377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57">
          <p15:clr>
            <a:srgbClr val="FBAE40"/>
          </p15:clr>
        </p15:guide>
        <p15:guide id="4" orient="horz" pos="255">
          <p15:clr>
            <a:srgbClr val="FBAE40"/>
          </p15:clr>
        </p15:guide>
        <p15:guide id="5" pos="742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1">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404813"/>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a:spAutoFit/>
          </a:bodyPr>
          <a:lstStyle>
            <a:lvl1pPr>
              <a:lnSpc>
                <a:spcPct val="120000"/>
              </a:lnSpc>
              <a:spcAft>
                <a:spcPts val="600"/>
              </a:spcAft>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3844954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Content 2">
    <p:spTree>
      <p:nvGrpSpPr>
        <p:cNvPr id="1" name=""/>
        <p:cNvGrpSpPr/>
        <p:nvPr/>
      </p:nvGrpSpPr>
      <p:grpSpPr>
        <a:xfrm>
          <a:off x="0" y="0"/>
          <a:ext cx="0" cy="0"/>
          <a:chOff x="0" y="0"/>
          <a:chExt cx="0" cy="0"/>
        </a:xfrm>
      </p:grpSpPr>
      <p:sp>
        <p:nvSpPr>
          <p:cNvPr id="7" name="Téglalap 6">
            <a:extLst>
              <a:ext uri="{FF2B5EF4-FFF2-40B4-BE49-F238E27FC236}">
                <a16:creationId xmlns:a16="http://schemas.microsoft.com/office/drawing/2014/main" id="{E3545EA7-DE47-4AD2-25EF-35E517978706}"/>
              </a:ext>
            </a:extLst>
          </p:cNvPr>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pic>
        <p:nvPicPr>
          <p:cNvPr id="8" name="Ábra 7">
            <a:extLst>
              <a:ext uri="{FF2B5EF4-FFF2-40B4-BE49-F238E27FC236}">
                <a16:creationId xmlns:a16="http://schemas.microsoft.com/office/drawing/2014/main" id="{A938BEAC-0620-32DF-3AF0-59796B1272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404813"/>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a:spAutoFit/>
          </a:bodyPr>
          <a:lstStyle>
            <a:lvl1pPr>
              <a:lnSpc>
                <a:spcPct val="120000"/>
              </a:lnSpc>
              <a:spcAft>
                <a:spcPts val="600"/>
              </a:spcAft>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4756160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Content 3">
    <p:spTree>
      <p:nvGrpSpPr>
        <p:cNvPr id="1" name=""/>
        <p:cNvGrpSpPr/>
        <p:nvPr/>
      </p:nvGrpSpPr>
      <p:grpSpPr>
        <a:xfrm>
          <a:off x="0" y="0"/>
          <a:ext cx="0" cy="0"/>
          <a:chOff x="0" y="0"/>
          <a:chExt cx="0" cy="0"/>
        </a:xfrm>
      </p:grpSpPr>
      <p:sp>
        <p:nvSpPr>
          <p:cNvPr id="4" name="Téglalap 3">
            <a:extLst>
              <a:ext uri="{FF2B5EF4-FFF2-40B4-BE49-F238E27FC236}">
                <a16:creationId xmlns:a16="http://schemas.microsoft.com/office/drawing/2014/main" id="{1410BE50-15B7-6C38-28E0-4B19C9863800}"/>
              </a:ext>
            </a:extLst>
          </p:cNvPr>
          <p:cNvSpPr/>
          <p:nvPr userDrawn="1"/>
        </p:nvSpPr>
        <p:spPr>
          <a:xfrm>
            <a:off x="0" y="1"/>
            <a:ext cx="4063958"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pic>
        <p:nvPicPr>
          <p:cNvPr id="5" name="Ábra 4">
            <a:extLst>
              <a:ext uri="{FF2B5EF4-FFF2-40B4-BE49-F238E27FC236}">
                <a16:creationId xmlns:a16="http://schemas.microsoft.com/office/drawing/2014/main" id="{92BF3852-944B-6B56-DA65-8DA7BFABE1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404813"/>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a:spAutoFit/>
          </a:bodyPr>
          <a:lstStyle>
            <a:lvl1pPr>
              <a:lnSpc>
                <a:spcPct val="120000"/>
              </a:lnSpc>
              <a:spcAft>
                <a:spcPts val="600"/>
              </a:spcAft>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3790878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Content 4">
    <p:spTree>
      <p:nvGrpSpPr>
        <p:cNvPr id="1" name=""/>
        <p:cNvGrpSpPr/>
        <p:nvPr/>
      </p:nvGrpSpPr>
      <p:grpSpPr>
        <a:xfrm>
          <a:off x="0" y="0"/>
          <a:ext cx="0" cy="0"/>
          <a:chOff x="0" y="0"/>
          <a:chExt cx="0" cy="0"/>
        </a:xfrm>
      </p:grpSpPr>
      <p:sp>
        <p:nvSpPr>
          <p:cNvPr id="7" name="Téglalap 6">
            <a:extLst>
              <a:ext uri="{FF2B5EF4-FFF2-40B4-BE49-F238E27FC236}">
                <a16:creationId xmlns:a16="http://schemas.microsoft.com/office/drawing/2014/main" id="{0D5BACC2-0301-A5BD-D7BC-A07384D871EE}"/>
              </a:ext>
            </a:extLst>
          </p:cNvPr>
          <p:cNvSpPr/>
          <p:nvPr userDrawn="1"/>
        </p:nvSpPr>
        <p:spPr>
          <a:xfrm>
            <a:off x="8128042" y="1"/>
            <a:ext cx="4063958"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404813"/>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a:spAutoFit/>
          </a:bodyPr>
          <a:lstStyle>
            <a:lvl1pPr>
              <a:lnSpc>
                <a:spcPct val="120000"/>
              </a:lnSpc>
              <a:spcAft>
                <a:spcPts val="600"/>
              </a:spcAft>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7618646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Content 5">
    <p:spTree>
      <p:nvGrpSpPr>
        <p:cNvPr id="1" name=""/>
        <p:cNvGrpSpPr/>
        <p:nvPr/>
      </p:nvGrpSpPr>
      <p:grpSpPr>
        <a:xfrm>
          <a:off x="0" y="0"/>
          <a:ext cx="0" cy="0"/>
          <a:chOff x="0" y="0"/>
          <a:chExt cx="0" cy="0"/>
        </a:xfrm>
      </p:grpSpPr>
      <p:sp>
        <p:nvSpPr>
          <p:cNvPr id="4" name="Téglalap 3">
            <a:extLst>
              <a:ext uri="{FF2B5EF4-FFF2-40B4-BE49-F238E27FC236}">
                <a16:creationId xmlns:a16="http://schemas.microsoft.com/office/drawing/2014/main" id="{D9E7B0F7-D4B3-5600-71F3-F6F9D466FCA3}"/>
              </a:ext>
            </a:extLst>
          </p:cNvPr>
          <p:cNvSpPr/>
          <p:nvPr userDrawn="1"/>
        </p:nvSpPr>
        <p:spPr>
          <a:xfrm>
            <a:off x="0" y="1"/>
            <a:ext cx="6096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pic>
        <p:nvPicPr>
          <p:cNvPr id="5" name="Ábra 4">
            <a:extLst>
              <a:ext uri="{FF2B5EF4-FFF2-40B4-BE49-F238E27FC236}">
                <a16:creationId xmlns:a16="http://schemas.microsoft.com/office/drawing/2014/main" id="{01AA5D79-DB2B-048C-98C2-73795C5060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404813"/>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a:spAutoFit/>
          </a:bodyPr>
          <a:lstStyle>
            <a:lvl1pPr>
              <a:lnSpc>
                <a:spcPct val="120000"/>
              </a:lnSpc>
              <a:spcAft>
                <a:spcPts val="600"/>
              </a:spcAft>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1123490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Content 6">
    <p:spTree>
      <p:nvGrpSpPr>
        <p:cNvPr id="1" name=""/>
        <p:cNvGrpSpPr/>
        <p:nvPr/>
      </p:nvGrpSpPr>
      <p:grpSpPr>
        <a:xfrm>
          <a:off x="0" y="0"/>
          <a:ext cx="0" cy="0"/>
          <a:chOff x="0" y="0"/>
          <a:chExt cx="0" cy="0"/>
        </a:xfrm>
      </p:grpSpPr>
      <p:sp>
        <p:nvSpPr>
          <p:cNvPr id="7" name="Téglalap 6">
            <a:extLst>
              <a:ext uri="{FF2B5EF4-FFF2-40B4-BE49-F238E27FC236}">
                <a16:creationId xmlns:a16="http://schemas.microsoft.com/office/drawing/2014/main" id="{20E01D61-0BE5-76E0-4730-6A2922B6E2F9}"/>
              </a:ext>
            </a:extLst>
          </p:cNvPr>
          <p:cNvSpPr/>
          <p:nvPr userDrawn="1"/>
        </p:nvSpPr>
        <p:spPr>
          <a:xfrm>
            <a:off x="6096000" y="1"/>
            <a:ext cx="6096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pic>
        <p:nvPicPr>
          <p:cNvPr id="5" name="Ábra 4">
            <a:extLst>
              <a:ext uri="{FF2B5EF4-FFF2-40B4-BE49-F238E27FC236}">
                <a16:creationId xmlns:a16="http://schemas.microsoft.com/office/drawing/2014/main" id="{01AA5D79-DB2B-048C-98C2-73795C5060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404813"/>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a:spAutoFit/>
          </a:bodyPr>
          <a:lstStyle>
            <a:lvl1pPr>
              <a:lnSpc>
                <a:spcPct val="120000"/>
              </a:lnSpc>
              <a:spcAft>
                <a:spcPts val="600"/>
              </a:spcAft>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1154280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 7">
    <p:spTree>
      <p:nvGrpSpPr>
        <p:cNvPr id="1" name=""/>
        <p:cNvGrpSpPr/>
        <p:nvPr/>
      </p:nvGrpSpPr>
      <p:grpSpPr>
        <a:xfrm>
          <a:off x="0" y="0"/>
          <a:ext cx="0" cy="0"/>
          <a:chOff x="0" y="0"/>
          <a:chExt cx="0" cy="0"/>
        </a:xfrm>
      </p:grpSpPr>
      <p:sp>
        <p:nvSpPr>
          <p:cNvPr id="9" name="Téglalap 8">
            <a:extLst>
              <a:ext uri="{FF2B5EF4-FFF2-40B4-BE49-F238E27FC236}">
                <a16:creationId xmlns:a16="http://schemas.microsoft.com/office/drawing/2014/main" id="{30B674F8-958A-BC5D-6B49-46F3573D76CC}"/>
              </a:ext>
            </a:extLst>
          </p:cNvPr>
          <p:cNvSpPr/>
          <p:nvPr userDrawn="1"/>
        </p:nvSpPr>
        <p:spPr>
          <a:xfrm>
            <a:off x="0" y="1"/>
            <a:ext cx="8128042"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pic>
        <p:nvPicPr>
          <p:cNvPr id="10" name="Ábra 9">
            <a:extLst>
              <a:ext uri="{FF2B5EF4-FFF2-40B4-BE49-F238E27FC236}">
                <a16:creationId xmlns:a16="http://schemas.microsoft.com/office/drawing/2014/main" id="{D7472431-DF5F-DFED-9AD7-D357812762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404813"/>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a:spAutoFit/>
          </a:bodyPr>
          <a:lstStyle>
            <a:lvl1pPr>
              <a:lnSpc>
                <a:spcPct val="120000"/>
              </a:lnSpc>
              <a:spcAft>
                <a:spcPts val="600"/>
              </a:spcAft>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13907870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 8">
    <p:spTree>
      <p:nvGrpSpPr>
        <p:cNvPr id="1" name=""/>
        <p:cNvGrpSpPr/>
        <p:nvPr/>
      </p:nvGrpSpPr>
      <p:grpSpPr>
        <a:xfrm>
          <a:off x="0" y="0"/>
          <a:ext cx="0" cy="0"/>
          <a:chOff x="0" y="0"/>
          <a:chExt cx="0" cy="0"/>
        </a:xfrm>
      </p:grpSpPr>
      <p:sp>
        <p:nvSpPr>
          <p:cNvPr id="4" name="Téglalap 3">
            <a:extLst>
              <a:ext uri="{FF2B5EF4-FFF2-40B4-BE49-F238E27FC236}">
                <a16:creationId xmlns:a16="http://schemas.microsoft.com/office/drawing/2014/main" id="{B3491A4A-2270-0C19-B47D-005CBA6614B0}"/>
              </a:ext>
            </a:extLst>
          </p:cNvPr>
          <p:cNvSpPr/>
          <p:nvPr userDrawn="1"/>
        </p:nvSpPr>
        <p:spPr>
          <a:xfrm>
            <a:off x="4063958" y="1"/>
            <a:ext cx="8128042"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404813"/>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a:spAutoFit/>
          </a:bodyPr>
          <a:lstStyle>
            <a:lvl1pPr>
              <a:lnSpc>
                <a:spcPct val="120000"/>
              </a:lnSpc>
              <a:spcAft>
                <a:spcPts val="600"/>
              </a:spcAft>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34729816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Chapter-slide-1">
    <p:bg>
      <p:bgPr>
        <a:solidFill>
          <a:schemeClr val="accent3"/>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51CEABB4-5B8C-F0BA-3C70-7828414DE7D8}"/>
              </a:ext>
            </a:extLst>
          </p:cNvPr>
          <p:cNvSpPr>
            <a:spLocks noGrp="1"/>
          </p:cNvSpPr>
          <p:nvPr>
            <p:ph type="title"/>
          </p:nvPr>
        </p:nvSpPr>
        <p:spPr>
          <a:xfrm>
            <a:off x="416214" y="576263"/>
            <a:ext cx="10515600" cy="2852737"/>
          </a:xfrm>
        </p:spPr>
        <p:txBody>
          <a:bodyPr anchor="b"/>
          <a:lstStyle>
            <a:lvl1pPr>
              <a:defRPr sz="6000"/>
            </a:lvl1pPr>
          </a:lstStyle>
          <a:p>
            <a:r>
              <a:rPr lang="hu-HU"/>
              <a:t>Mintacím szerkesztése</a:t>
            </a:r>
            <a:endParaRPr lang="en-US"/>
          </a:p>
        </p:txBody>
      </p:sp>
      <p:sp>
        <p:nvSpPr>
          <p:cNvPr id="3" name="Szöveg helye 2">
            <a:extLst>
              <a:ext uri="{FF2B5EF4-FFF2-40B4-BE49-F238E27FC236}">
                <a16:creationId xmlns:a16="http://schemas.microsoft.com/office/drawing/2014/main" id="{D567F778-AE5F-A230-A411-610D0A0E4B40}"/>
              </a:ext>
            </a:extLst>
          </p:cNvPr>
          <p:cNvSpPr>
            <a:spLocks noGrp="1"/>
          </p:cNvSpPr>
          <p:nvPr>
            <p:ph type="body" idx="1"/>
          </p:nvPr>
        </p:nvSpPr>
        <p:spPr>
          <a:xfrm>
            <a:off x="416214" y="3455988"/>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u-HU"/>
              <a:t>Mintaszöveg szerkesztése</a:t>
            </a:r>
          </a:p>
        </p:txBody>
      </p:sp>
      <p:sp>
        <p:nvSpPr>
          <p:cNvPr id="4" name="Dátum helye 3">
            <a:extLst>
              <a:ext uri="{FF2B5EF4-FFF2-40B4-BE49-F238E27FC236}">
                <a16:creationId xmlns:a16="http://schemas.microsoft.com/office/drawing/2014/main" id="{C97252AC-0874-BBFA-33AE-0AB18720C127}"/>
              </a:ext>
            </a:extLst>
          </p:cNvPr>
          <p:cNvSpPr>
            <a:spLocks noGrp="1"/>
          </p:cNvSpPr>
          <p:nvPr>
            <p:ph type="dt" sz="half" idx="10"/>
          </p:nvPr>
        </p:nvSpPr>
        <p:spPr>
          <a:xfrm>
            <a:off x="1916982" y="6329481"/>
            <a:ext cx="1289024" cy="246221"/>
          </a:xfrm>
          <a:prstGeom prst="rect">
            <a:avLst/>
          </a:prstGeom>
        </p:spPr>
        <p:txBody>
          <a:bodyPr/>
          <a:lstStyle/>
          <a:p>
            <a:fld id="{048842C2-15A0-AD4F-8277-44B7B073CCF0}" type="datetime1">
              <a:rPr lang="hu-HU" smtClean="0"/>
              <a:t>2023. 12. 20.</a:t>
            </a:fld>
            <a:endParaRPr lang="en-US"/>
          </a:p>
        </p:txBody>
      </p:sp>
      <p:sp>
        <p:nvSpPr>
          <p:cNvPr id="5" name="Élőláb helye 4">
            <a:extLst>
              <a:ext uri="{FF2B5EF4-FFF2-40B4-BE49-F238E27FC236}">
                <a16:creationId xmlns:a16="http://schemas.microsoft.com/office/drawing/2014/main" id="{6366E31B-DCA2-C64C-21E7-0C69756A1E4C}"/>
              </a:ext>
            </a:extLst>
          </p:cNvPr>
          <p:cNvSpPr>
            <a:spLocks noGrp="1"/>
          </p:cNvSpPr>
          <p:nvPr>
            <p:ph type="ftr" sz="quarter" idx="11"/>
          </p:nvPr>
        </p:nvSpPr>
        <p:spPr>
          <a:xfrm>
            <a:off x="3381231" y="6329481"/>
            <a:ext cx="4114800" cy="246221"/>
          </a:xfrm>
          <a:prstGeom prst="rect">
            <a:avLst/>
          </a:prstGeom>
        </p:spPr>
        <p:txBody>
          <a:bodyPr/>
          <a:lstStyle/>
          <a:p>
            <a:endParaRPr lang="en-US"/>
          </a:p>
        </p:txBody>
      </p:sp>
      <p:sp>
        <p:nvSpPr>
          <p:cNvPr id="6" name="Dia számának helye 5">
            <a:extLst>
              <a:ext uri="{FF2B5EF4-FFF2-40B4-BE49-F238E27FC236}">
                <a16:creationId xmlns:a16="http://schemas.microsoft.com/office/drawing/2014/main" id="{C03B3A41-4EA0-827C-882E-4BAD1D1B9292}"/>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3490552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slide-2">
    <p:bg>
      <p:bgPr>
        <a:solidFill>
          <a:schemeClr val="accent3"/>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51CEABB4-5B8C-F0BA-3C70-7828414DE7D8}"/>
              </a:ext>
            </a:extLst>
          </p:cNvPr>
          <p:cNvSpPr>
            <a:spLocks noGrp="1"/>
          </p:cNvSpPr>
          <p:nvPr>
            <p:ph type="title"/>
          </p:nvPr>
        </p:nvSpPr>
        <p:spPr>
          <a:xfrm>
            <a:off x="416214" y="4627164"/>
            <a:ext cx="10515600" cy="1015663"/>
          </a:xfrm>
        </p:spPr>
        <p:txBody>
          <a:bodyPr anchor="b"/>
          <a:lstStyle>
            <a:lvl1pPr>
              <a:defRPr sz="6000">
                <a:solidFill>
                  <a:schemeClr val="accent5"/>
                </a:solidFill>
              </a:defRPr>
            </a:lvl1pPr>
          </a:lstStyle>
          <a:p>
            <a:r>
              <a:rPr lang="hu-HU"/>
              <a:t>Mintacím szerkesztése</a:t>
            </a:r>
            <a:endParaRPr lang="en-US"/>
          </a:p>
        </p:txBody>
      </p:sp>
      <p:sp>
        <p:nvSpPr>
          <p:cNvPr id="4" name="Dátum helye 3">
            <a:extLst>
              <a:ext uri="{FF2B5EF4-FFF2-40B4-BE49-F238E27FC236}">
                <a16:creationId xmlns:a16="http://schemas.microsoft.com/office/drawing/2014/main" id="{C97252AC-0874-BBFA-33AE-0AB18720C127}"/>
              </a:ext>
            </a:extLst>
          </p:cNvPr>
          <p:cNvSpPr>
            <a:spLocks noGrp="1"/>
          </p:cNvSpPr>
          <p:nvPr>
            <p:ph type="dt" sz="half" idx="10"/>
          </p:nvPr>
        </p:nvSpPr>
        <p:spPr>
          <a:xfrm>
            <a:off x="1916982" y="6329481"/>
            <a:ext cx="1289024" cy="246221"/>
          </a:xfrm>
          <a:prstGeom prst="rect">
            <a:avLst/>
          </a:prstGeom>
        </p:spPr>
        <p:txBody>
          <a:bodyPr/>
          <a:lstStyle/>
          <a:p>
            <a:fld id="{048842C2-15A0-AD4F-8277-44B7B073CCF0}" type="datetime1">
              <a:rPr lang="hu-HU" smtClean="0"/>
              <a:t>2023. 12. 20.</a:t>
            </a:fld>
            <a:endParaRPr lang="en-US"/>
          </a:p>
        </p:txBody>
      </p:sp>
      <p:sp>
        <p:nvSpPr>
          <p:cNvPr id="5" name="Élőláb helye 4">
            <a:extLst>
              <a:ext uri="{FF2B5EF4-FFF2-40B4-BE49-F238E27FC236}">
                <a16:creationId xmlns:a16="http://schemas.microsoft.com/office/drawing/2014/main" id="{6366E31B-DCA2-C64C-21E7-0C69756A1E4C}"/>
              </a:ext>
            </a:extLst>
          </p:cNvPr>
          <p:cNvSpPr>
            <a:spLocks noGrp="1"/>
          </p:cNvSpPr>
          <p:nvPr>
            <p:ph type="ftr" sz="quarter" idx="11"/>
          </p:nvPr>
        </p:nvSpPr>
        <p:spPr>
          <a:xfrm>
            <a:off x="3381231" y="6329481"/>
            <a:ext cx="4114800" cy="246221"/>
          </a:xfrm>
          <a:prstGeom prst="rect">
            <a:avLst/>
          </a:prstGeom>
        </p:spPr>
        <p:txBody>
          <a:bodyPr/>
          <a:lstStyle/>
          <a:p>
            <a:endParaRPr lang="en-US"/>
          </a:p>
        </p:txBody>
      </p:sp>
      <p:sp>
        <p:nvSpPr>
          <p:cNvPr id="6" name="Dia számának helye 5">
            <a:extLst>
              <a:ext uri="{FF2B5EF4-FFF2-40B4-BE49-F238E27FC236}">
                <a16:creationId xmlns:a16="http://schemas.microsoft.com/office/drawing/2014/main" id="{C03B3A41-4EA0-827C-882E-4BAD1D1B9292}"/>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1460697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ontent with pre-header 1">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963466"/>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lIns="0">
            <a:spAutoFit/>
          </a:bodyPr>
          <a:lstStyle>
            <a:lvl1pPr>
              <a:lnSpc>
                <a:spcPct val="120000"/>
              </a:lnSpc>
              <a:spcAft>
                <a:spcPts val="600"/>
              </a:spcAft>
              <a:defRPr sz="1600"/>
            </a:lvl1pPr>
            <a:lvl2pPr>
              <a:lnSpc>
                <a:spcPct val="120000"/>
              </a:lnSpc>
              <a:spcAft>
                <a:spcPts val="600"/>
              </a:spcAft>
              <a:defRPr sz="1600"/>
            </a:lvl2pPr>
            <a:lvl3pPr>
              <a:lnSpc>
                <a:spcPct val="120000"/>
              </a:lnSpc>
              <a:spcAft>
                <a:spcPts val="600"/>
              </a:spcAft>
              <a:defRPr sz="1600"/>
            </a:lvl3pPr>
            <a:lvl4pPr>
              <a:lnSpc>
                <a:spcPct val="120000"/>
              </a:lnSpc>
              <a:spcAft>
                <a:spcPts val="600"/>
              </a:spcAft>
              <a:defRPr sz="1600"/>
            </a:lvl4pPr>
            <a:lvl5pPr>
              <a:lnSpc>
                <a:spcPct val="120000"/>
              </a:lnSpc>
              <a:spcAft>
                <a:spcPts val="600"/>
              </a:spcAft>
              <a:defRPr sz="1600"/>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
        <p:nvSpPr>
          <p:cNvPr id="7" name="Tartalom helye 2">
            <a:extLst>
              <a:ext uri="{FF2B5EF4-FFF2-40B4-BE49-F238E27FC236}">
                <a16:creationId xmlns:a16="http://schemas.microsoft.com/office/drawing/2014/main" id="{D4BB8923-F9F1-EFE7-B580-0B5AC7B37967}"/>
              </a:ext>
            </a:extLst>
          </p:cNvPr>
          <p:cNvSpPr>
            <a:spLocks noGrp="1"/>
          </p:cNvSpPr>
          <p:nvPr>
            <p:ph idx="13"/>
          </p:nvPr>
        </p:nvSpPr>
        <p:spPr>
          <a:xfrm>
            <a:off x="407987" y="432176"/>
            <a:ext cx="11341099" cy="391374"/>
          </a:xfrm>
        </p:spPr>
        <p:txBody>
          <a:bodyPr lIns="0">
            <a:noAutofit/>
          </a:bodyPr>
          <a:lstStyle>
            <a:lvl1pPr marL="0" indent="0">
              <a:lnSpc>
                <a:spcPct val="120000"/>
              </a:lnSpc>
              <a:spcAft>
                <a:spcPts val="600"/>
              </a:spcAft>
              <a:buNone/>
              <a:defRPr sz="1600">
                <a:solidFill>
                  <a:schemeClr val="accent5"/>
                </a:solidFill>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endParaRPr lang="en-US"/>
          </a:p>
        </p:txBody>
      </p:sp>
    </p:spTree>
    <p:extLst>
      <p:ext uri="{BB962C8B-B14F-4D97-AF65-F5344CB8AC3E}">
        <p14:creationId xmlns:p14="http://schemas.microsoft.com/office/powerpoint/2010/main" val="6790569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2F223C7-0D39-3D02-FDBF-90F172D1A7A7}"/>
              </a:ext>
            </a:extLst>
          </p:cNvPr>
          <p:cNvSpPr>
            <a:spLocks noGrp="1"/>
          </p:cNvSpPr>
          <p:nvPr>
            <p:ph type="title"/>
          </p:nvPr>
        </p:nvSpPr>
        <p:spPr/>
        <p:txBody>
          <a:bodyPr/>
          <a:lstStyle/>
          <a:p>
            <a:r>
              <a:rPr lang="hu-HU"/>
              <a:t>Mintacím szerkesztése</a:t>
            </a:r>
            <a:endParaRPr lang="en-US"/>
          </a:p>
        </p:txBody>
      </p:sp>
      <p:sp>
        <p:nvSpPr>
          <p:cNvPr id="5" name="Dia számának helye 4">
            <a:extLst>
              <a:ext uri="{FF2B5EF4-FFF2-40B4-BE49-F238E27FC236}">
                <a16:creationId xmlns:a16="http://schemas.microsoft.com/office/drawing/2014/main" id="{4BF29BA6-31DB-7915-BC17-1FB5FBD34BD9}"/>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7023650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4" name="Dia számának helye 3">
            <a:extLst>
              <a:ext uri="{FF2B5EF4-FFF2-40B4-BE49-F238E27FC236}">
                <a16:creationId xmlns:a16="http://schemas.microsoft.com/office/drawing/2014/main" id="{C657E6E8-B9D7-27CE-2E59-9CD1C9E35673}"/>
              </a:ext>
            </a:extLst>
          </p:cNvPr>
          <p:cNvSpPr>
            <a:spLocks noGrp="1"/>
          </p:cNvSpPr>
          <p:nvPr>
            <p:ph type="sldNum" sz="quarter" idx="12"/>
          </p:nvPr>
        </p:nvSpPr>
        <p:spPr/>
        <p:txBody>
          <a:bodyPr/>
          <a:lstStyle/>
          <a:p>
            <a:fld id="{61F2D668-955E-AB45-9B4E-D4D3490B1261}" type="slidenum">
              <a:rPr lang="en-US" smtClean="0"/>
              <a:t>‹#›</a:t>
            </a:fld>
            <a:endParaRPr lang="en-US"/>
          </a:p>
        </p:txBody>
      </p:sp>
    </p:spTree>
    <p:extLst>
      <p:ext uri="{BB962C8B-B14F-4D97-AF65-F5344CB8AC3E}">
        <p14:creationId xmlns:p14="http://schemas.microsoft.com/office/powerpoint/2010/main" val="28863542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 with pre-header 2">
    <p:spTree>
      <p:nvGrpSpPr>
        <p:cNvPr id="1" name=""/>
        <p:cNvGrpSpPr/>
        <p:nvPr/>
      </p:nvGrpSpPr>
      <p:grpSpPr>
        <a:xfrm>
          <a:off x="0" y="0"/>
          <a:ext cx="0" cy="0"/>
          <a:chOff x="0" y="0"/>
          <a:chExt cx="0" cy="0"/>
        </a:xfrm>
      </p:grpSpPr>
      <p:sp>
        <p:nvSpPr>
          <p:cNvPr id="4" name="Téglalap 3">
            <a:extLst>
              <a:ext uri="{FF2B5EF4-FFF2-40B4-BE49-F238E27FC236}">
                <a16:creationId xmlns:a16="http://schemas.microsoft.com/office/drawing/2014/main" id="{9C5B33D1-B91F-2BF3-6FEC-3A3CE2672B8A}"/>
              </a:ext>
            </a:extLst>
          </p:cNvPr>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963466"/>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lIns="0">
            <a:spAutoFit/>
          </a:bodyPr>
          <a:lstStyle>
            <a:lvl1pPr>
              <a:lnSpc>
                <a:spcPct val="120000"/>
              </a:lnSpc>
              <a:spcAft>
                <a:spcPts val="600"/>
              </a:spcAft>
              <a:defRPr sz="1600"/>
            </a:lvl1pPr>
            <a:lvl2pPr>
              <a:lnSpc>
                <a:spcPct val="120000"/>
              </a:lnSpc>
              <a:spcAft>
                <a:spcPts val="600"/>
              </a:spcAft>
              <a:defRPr sz="1600"/>
            </a:lvl2pPr>
            <a:lvl3pPr>
              <a:lnSpc>
                <a:spcPct val="120000"/>
              </a:lnSpc>
              <a:spcAft>
                <a:spcPts val="600"/>
              </a:spcAft>
              <a:defRPr sz="1600"/>
            </a:lvl3pPr>
            <a:lvl4pPr>
              <a:lnSpc>
                <a:spcPct val="120000"/>
              </a:lnSpc>
              <a:spcAft>
                <a:spcPts val="600"/>
              </a:spcAft>
              <a:defRPr sz="1600"/>
            </a:lvl4pPr>
            <a:lvl5pPr>
              <a:lnSpc>
                <a:spcPct val="120000"/>
              </a:lnSpc>
              <a:spcAft>
                <a:spcPts val="600"/>
              </a:spcAft>
              <a:defRPr sz="1600"/>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
        <p:nvSpPr>
          <p:cNvPr id="7" name="Tartalom helye 2">
            <a:extLst>
              <a:ext uri="{FF2B5EF4-FFF2-40B4-BE49-F238E27FC236}">
                <a16:creationId xmlns:a16="http://schemas.microsoft.com/office/drawing/2014/main" id="{D4BB8923-F9F1-EFE7-B580-0B5AC7B37967}"/>
              </a:ext>
            </a:extLst>
          </p:cNvPr>
          <p:cNvSpPr>
            <a:spLocks noGrp="1"/>
          </p:cNvSpPr>
          <p:nvPr>
            <p:ph idx="13"/>
          </p:nvPr>
        </p:nvSpPr>
        <p:spPr>
          <a:xfrm>
            <a:off x="407987" y="432176"/>
            <a:ext cx="11341099" cy="391374"/>
          </a:xfrm>
        </p:spPr>
        <p:txBody>
          <a:bodyPr lIns="0">
            <a:noAutofit/>
          </a:bodyPr>
          <a:lstStyle>
            <a:lvl1pPr marL="0" indent="0">
              <a:lnSpc>
                <a:spcPct val="120000"/>
              </a:lnSpc>
              <a:spcAft>
                <a:spcPts val="600"/>
              </a:spcAft>
              <a:buNone/>
              <a:defRPr sz="1600">
                <a:solidFill>
                  <a:schemeClr val="accent5"/>
                </a:solidFill>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endParaRPr lang="en-US"/>
          </a:p>
        </p:txBody>
      </p:sp>
      <p:pic>
        <p:nvPicPr>
          <p:cNvPr id="5" name="Ábra 4">
            <a:extLst>
              <a:ext uri="{FF2B5EF4-FFF2-40B4-BE49-F238E27FC236}">
                <a16:creationId xmlns:a16="http://schemas.microsoft.com/office/drawing/2014/main" id="{28ED8307-F35A-8BB1-7A14-B0B460A476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Tree>
    <p:extLst>
      <p:ext uri="{BB962C8B-B14F-4D97-AF65-F5344CB8AC3E}">
        <p14:creationId xmlns:p14="http://schemas.microsoft.com/office/powerpoint/2010/main" val="675584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with pre-header 3">
    <p:spTree>
      <p:nvGrpSpPr>
        <p:cNvPr id="1" name=""/>
        <p:cNvGrpSpPr/>
        <p:nvPr/>
      </p:nvGrpSpPr>
      <p:grpSpPr>
        <a:xfrm>
          <a:off x="0" y="0"/>
          <a:ext cx="0" cy="0"/>
          <a:chOff x="0" y="0"/>
          <a:chExt cx="0" cy="0"/>
        </a:xfrm>
      </p:grpSpPr>
      <p:sp>
        <p:nvSpPr>
          <p:cNvPr id="8" name="Téglalap 7">
            <a:extLst>
              <a:ext uri="{FF2B5EF4-FFF2-40B4-BE49-F238E27FC236}">
                <a16:creationId xmlns:a16="http://schemas.microsoft.com/office/drawing/2014/main" id="{B7EB88C6-46D9-F7E3-AB1A-5B9783005B4F}"/>
              </a:ext>
            </a:extLst>
          </p:cNvPr>
          <p:cNvSpPr/>
          <p:nvPr userDrawn="1"/>
        </p:nvSpPr>
        <p:spPr>
          <a:xfrm>
            <a:off x="0" y="1"/>
            <a:ext cx="4063958"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963466"/>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lIns="0">
            <a:spAutoFit/>
          </a:bodyPr>
          <a:lstStyle>
            <a:lvl1pPr>
              <a:lnSpc>
                <a:spcPct val="120000"/>
              </a:lnSpc>
              <a:spcAft>
                <a:spcPts val="600"/>
              </a:spcAft>
              <a:defRPr sz="1600"/>
            </a:lvl1pPr>
            <a:lvl2pPr>
              <a:lnSpc>
                <a:spcPct val="120000"/>
              </a:lnSpc>
              <a:spcAft>
                <a:spcPts val="600"/>
              </a:spcAft>
              <a:defRPr sz="1600"/>
            </a:lvl2pPr>
            <a:lvl3pPr>
              <a:lnSpc>
                <a:spcPct val="120000"/>
              </a:lnSpc>
              <a:spcAft>
                <a:spcPts val="600"/>
              </a:spcAft>
              <a:defRPr sz="1600"/>
            </a:lvl3pPr>
            <a:lvl4pPr>
              <a:lnSpc>
                <a:spcPct val="120000"/>
              </a:lnSpc>
              <a:spcAft>
                <a:spcPts val="600"/>
              </a:spcAft>
              <a:defRPr sz="1600"/>
            </a:lvl4pPr>
            <a:lvl5pPr>
              <a:lnSpc>
                <a:spcPct val="120000"/>
              </a:lnSpc>
              <a:spcAft>
                <a:spcPts val="600"/>
              </a:spcAft>
              <a:defRPr sz="1600"/>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
        <p:nvSpPr>
          <p:cNvPr id="7" name="Tartalom helye 2">
            <a:extLst>
              <a:ext uri="{FF2B5EF4-FFF2-40B4-BE49-F238E27FC236}">
                <a16:creationId xmlns:a16="http://schemas.microsoft.com/office/drawing/2014/main" id="{D4BB8923-F9F1-EFE7-B580-0B5AC7B37967}"/>
              </a:ext>
            </a:extLst>
          </p:cNvPr>
          <p:cNvSpPr>
            <a:spLocks noGrp="1"/>
          </p:cNvSpPr>
          <p:nvPr>
            <p:ph idx="13"/>
          </p:nvPr>
        </p:nvSpPr>
        <p:spPr>
          <a:xfrm>
            <a:off x="407987" y="432176"/>
            <a:ext cx="11341099" cy="391374"/>
          </a:xfrm>
        </p:spPr>
        <p:txBody>
          <a:bodyPr lIns="0">
            <a:noAutofit/>
          </a:bodyPr>
          <a:lstStyle>
            <a:lvl1pPr marL="0" indent="0">
              <a:lnSpc>
                <a:spcPct val="120000"/>
              </a:lnSpc>
              <a:spcAft>
                <a:spcPts val="600"/>
              </a:spcAft>
              <a:buNone/>
              <a:defRPr sz="1600">
                <a:solidFill>
                  <a:schemeClr val="accent5"/>
                </a:solidFill>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endParaRPr lang="en-US"/>
          </a:p>
        </p:txBody>
      </p:sp>
      <p:pic>
        <p:nvPicPr>
          <p:cNvPr id="5" name="Ábra 4">
            <a:extLst>
              <a:ext uri="{FF2B5EF4-FFF2-40B4-BE49-F238E27FC236}">
                <a16:creationId xmlns:a16="http://schemas.microsoft.com/office/drawing/2014/main" id="{28ED8307-F35A-8BB1-7A14-B0B460A476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Tree>
    <p:extLst>
      <p:ext uri="{BB962C8B-B14F-4D97-AF65-F5344CB8AC3E}">
        <p14:creationId xmlns:p14="http://schemas.microsoft.com/office/powerpoint/2010/main" val="9068728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pre-header 4">
    <p:spTree>
      <p:nvGrpSpPr>
        <p:cNvPr id="1" name=""/>
        <p:cNvGrpSpPr/>
        <p:nvPr/>
      </p:nvGrpSpPr>
      <p:grpSpPr>
        <a:xfrm>
          <a:off x="0" y="0"/>
          <a:ext cx="0" cy="0"/>
          <a:chOff x="0" y="0"/>
          <a:chExt cx="0" cy="0"/>
        </a:xfrm>
      </p:grpSpPr>
      <p:sp>
        <p:nvSpPr>
          <p:cNvPr id="8" name="Téglalap 7">
            <a:extLst>
              <a:ext uri="{FF2B5EF4-FFF2-40B4-BE49-F238E27FC236}">
                <a16:creationId xmlns:a16="http://schemas.microsoft.com/office/drawing/2014/main" id="{B7EB88C6-46D9-F7E3-AB1A-5B9783005B4F}"/>
              </a:ext>
            </a:extLst>
          </p:cNvPr>
          <p:cNvSpPr/>
          <p:nvPr userDrawn="1"/>
        </p:nvSpPr>
        <p:spPr>
          <a:xfrm>
            <a:off x="8128042" y="1"/>
            <a:ext cx="4063958"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963466"/>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lIns="0">
            <a:spAutoFit/>
          </a:bodyPr>
          <a:lstStyle>
            <a:lvl1pPr>
              <a:lnSpc>
                <a:spcPct val="120000"/>
              </a:lnSpc>
              <a:spcAft>
                <a:spcPts val="600"/>
              </a:spcAft>
              <a:defRPr sz="1600"/>
            </a:lvl1pPr>
            <a:lvl2pPr>
              <a:lnSpc>
                <a:spcPct val="120000"/>
              </a:lnSpc>
              <a:spcAft>
                <a:spcPts val="600"/>
              </a:spcAft>
              <a:defRPr sz="1600"/>
            </a:lvl2pPr>
            <a:lvl3pPr>
              <a:lnSpc>
                <a:spcPct val="120000"/>
              </a:lnSpc>
              <a:spcAft>
                <a:spcPts val="600"/>
              </a:spcAft>
              <a:defRPr sz="1600"/>
            </a:lvl3pPr>
            <a:lvl4pPr>
              <a:lnSpc>
                <a:spcPct val="120000"/>
              </a:lnSpc>
              <a:spcAft>
                <a:spcPts val="600"/>
              </a:spcAft>
              <a:defRPr sz="1600"/>
            </a:lvl4pPr>
            <a:lvl5pPr>
              <a:lnSpc>
                <a:spcPct val="120000"/>
              </a:lnSpc>
              <a:spcAft>
                <a:spcPts val="600"/>
              </a:spcAft>
              <a:defRPr sz="1600"/>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
        <p:nvSpPr>
          <p:cNvPr id="7" name="Tartalom helye 2">
            <a:extLst>
              <a:ext uri="{FF2B5EF4-FFF2-40B4-BE49-F238E27FC236}">
                <a16:creationId xmlns:a16="http://schemas.microsoft.com/office/drawing/2014/main" id="{D4BB8923-F9F1-EFE7-B580-0B5AC7B37967}"/>
              </a:ext>
            </a:extLst>
          </p:cNvPr>
          <p:cNvSpPr>
            <a:spLocks noGrp="1"/>
          </p:cNvSpPr>
          <p:nvPr>
            <p:ph idx="13"/>
          </p:nvPr>
        </p:nvSpPr>
        <p:spPr>
          <a:xfrm>
            <a:off x="407987" y="432176"/>
            <a:ext cx="11341099" cy="391374"/>
          </a:xfrm>
        </p:spPr>
        <p:txBody>
          <a:bodyPr lIns="0">
            <a:noAutofit/>
          </a:bodyPr>
          <a:lstStyle>
            <a:lvl1pPr marL="0" indent="0">
              <a:lnSpc>
                <a:spcPct val="120000"/>
              </a:lnSpc>
              <a:spcAft>
                <a:spcPts val="600"/>
              </a:spcAft>
              <a:buNone/>
              <a:defRPr sz="1600">
                <a:solidFill>
                  <a:schemeClr val="accent5"/>
                </a:solidFill>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endParaRPr lang="en-US"/>
          </a:p>
        </p:txBody>
      </p:sp>
      <p:pic>
        <p:nvPicPr>
          <p:cNvPr id="5" name="Ábra 4">
            <a:extLst>
              <a:ext uri="{FF2B5EF4-FFF2-40B4-BE49-F238E27FC236}">
                <a16:creationId xmlns:a16="http://schemas.microsoft.com/office/drawing/2014/main" id="{28ED8307-F35A-8BB1-7A14-B0B460A476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Tree>
    <p:extLst>
      <p:ext uri="{BB962C8B-B14F-4D97-AF65-F5344CB8AC3E}">
        <p14:creationId xmlns:p14="http://schemas.microsoft.com/office/powerpoint/2010/main" val="2762704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pre-header 5">
    <p:spTree>
      <p:nvGrpSpPr>
        <p:cNvPr id="1" name=""/>
        <p:cNvGrpSpPr/>
        <p:nvPr/>
      </p:nvGrpSpPr>
      <p:grpSpPr>
        <a:xfrm>
          <a:off x="0" y="0"/>
          <a:ext cx="0" cy="0"/>
          <a:chOff x="0" y="0"/>
          <a:chExt cx="0" cy="0"/>
        </a:xfrm>
      </p:grpSpPr>
      <p:sp>
        <p:nvSpPr>
          <p:cNvPr id="8" name="Téglalap 7">
            <a:extLst>
              <a:ext uri="{FF2B5EF4-FFF2-40B4-BE49-F238E27FC236}">
                <a16:creationId xmlns:a16="http://schemas.microsoft.com/office/drawing/2014/main" id="{B7EB88C6-46D9-F7E3-AB1A-5B9783005B4F}"/>
              </a:ext>
            </a:extLst>
          </p:cNvPr>
          <p:cNvSpPr/>
          <p:nvPr userDrawn="1"/>
        </p:nvSpPr>
        <p:spPr>
          <a:xfrm>
            <a:off x="0" y="1"/>
            <a:ext cx="6096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963466"/>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lIns="0">
            <a:spAutoFit/>
          </a:bodyPr>
          <a:lstStyle>
            <a:lvl1pPr>
              <a:lnSpc>
                <a:spcPct val="120000"/>
              </a:lnSpc>
              <a:spcAft>
                <a:spcPts val="600"/>
              </a:spcAft>
              <a:defRPr sz="1600"/>
            </a:lvl1pPr>
            <a:lvl2pPr>
              <a:lnSpc>
                <a:spcPct val="120000"/>
              </a:lnSpc>
              <a:spcAft>
                <a:spcPts val="600"/>
              </a:spcAft>
              <a:defRPr sz="1600"/>
            </a:lvl2pPr>
            <a:lvl3pPr>
              <a:lnSpc>
                <a:spcPct val="120000"/>
              </a:lnSpc>
              <a:spcAft>
                <a:spcPts val="600"/>
              </a:spcAft>
              <a:defRPr sz="1600"/>
            </a:lvl3pPr>
            <a:lvl4pPr>
              <a:lnSpc>
                <a:spcPct val="120000"/>
              </a:lnSpc>
              <a:spcAft>
                <a:spcPts val="600"/>
              </a:spcAft>
              <a:defRPr sz="1600"/>
            </a:lvl4pPr>
            <a:lvl5pPr>
              <a:lnSpc>
                <a:spcPct val="120000"/>
              </a:lnSpc>
              <a:spcAft>
                <a:spcPts val="600"/>
              </a:spcAft>
              <a:defRPr sz="1600"/>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
        <p:nvSpPr>
          <p:cNvPr id="7" name="Tartalom helye 2">
            <a:extLst>
              <a:ext uri="{FF2B5EF4-FFF2-40B4-BE49-F238E27FC236}">
                <a16:creationId xmlns:a16="http://schemas.microsoft.com/office/drawing/2014/main" id="{D4BB8923-F9F1-EFE7-B580-0B5AC7B37967}"/>
              </a:ext>
            </a:extLst>
          </p:cNvPr>
          <p:cNvSpPr>
            <a:spLocks noGrp="1"/>
          </p:cNvSpPr>
          <p:nvPr>
            <p:ph idx="13"/>
          </p:nvPr>
        </p:nvSpPr>
        <p:spPr>
          <a:xfrm>
            <a:off x="407987" y="432176"/>
            <a:ext cx="11341099" cy="391374"/>
          </a:xfrm>
        </p:spPr>
        <p:txBody>
          <a:bodyPr lIns="0">
            <a:noAutofit/>
          </a:bodyPr>
          <a:lstStyle>
            <a:lvl1pPr marL="0" indent="0">
              <a:lnSpc>
                <a:spcPct val="120000"/>
              </a:lnSpc>
              <a:spcAft>
                <a:spcPts val="600"/>
              </a:spcAft>
              <a:buNone/>
              <a:defRPr sz="1600">
                <a:solidFill>
                  <a:schemeClr val="accent5"/>
                </a:solidFill>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endParaRPr lang="en-US"/>
          </a:p>
        </p:txBody>
      </p:sp>
      <p:pic>
        <p:nvPicPr>
          <p:cNvPr id="5" name="Ábra 4">
            <a:extLst>
              <a:ext uri="{FF2B5EF4-FFF2-40B4-BE49-F238E27FC236}">
                <a16:creationId xmlns:a16="http://schemas.microsoft.com/office/drawing/2014/main" id="{28ED8307-F35A-8BB1-7A14-B0B460A476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Tree>
    <p:extLst>
      <p:ext uri="{BB962C8B-B14F-4D97-AF65-F5344CB8AC3E}">
        <p14:creationId xmlns:p14="http://schemas.microsoft.com/office/powerpoint/2010/main" val="1277885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with pre-header 6">
    <p:spTree>
      <p:nvGrpSpPr>
        <p:cNvPr id="1" name=""/>
        <p:cNvGrpSpPr/>
        <p:nvPr/>
      </p:nvGrpSpPr>
      <p:grpSpPr>
        <a:xfrm>
          <a:off x="0" y="0"/>
          <a:ext cx="0" cy="0"/>
          <a:chOff x="0" y="0"/>
          <a:chExt cx="0" cy="0"/>
        </a:xfrm>
      </p:grpSpPr>
      <p:sp>
        <p:nvSpPr>
          <p:cNvPr id="8" name="Téglalap 7">
            <a:extLst>
              <a:ext uri="{FF2B5EF4-FFF2-40B4-BE49-F238E27FC236}">
                <a16:creationId xmlns:a16="http://schemas.microsoft.com/office/drawing/2014/main" id="{B7EB88C6-46D9-F7E3-AB1A-5B9783005B4F}"/>
              </a:ext>
            </a:extLst>
          </p:cNvPr>
          <p:cNvSpPr/>
          <p:nvPr userDrawn="1"/>
        </p:nvSpPr>
        <p:spPr>
          <a:xfrm>
            <a:off x="6096000" y="1"/>
            <a:ext cx="6096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963466"/>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lIns="0">
            <a:spAutoFit/>
          </a:bodyPr>
          <a:lstStyle>
            <a:lvl1pPr>
              <a:lnSpc>
                <a:spcPct val="120000"/>
              </a:lnSpc>
              <a:spcAft>
                <a:spcPts val="600"/>
              </a:spcAft>
              <a:defRPr sz="1600"/>
            </a:lvl1pPr>
            <a:lvl2pPr>
              <a:lnSpc>
                <a:spcPct val="120000"/>
              </a:lnSpc>
              <a:spcAft>
                <a:spcPts val="600"/>
              </a:spcAft>
              <a:defRPr sz="1600"/>
            </a:lvl2pPr>
            <a:lvl3pPr>
              <a:lnSpc>
                <a:spcPct val="120000"/>
              </a:lnSpc>
              <a:spcAft>
                <a:spcPts val="600"/>
              </a:spcAft>
              <a:defRPr sz="1600"/>
            </a:lvl3pPr>
            <a:lvl4pPr>
              <a:lnSpc>
                <a:spcPct val="120000"/>
              </a:lnSpc>
              <a:spcAft>
                <a:spcPts val="600"/>
              </a:spcAft>
              <a:defRPr sz="1600"/>
            </a:lvl4pPr>
            <a:lvl5pPr>
              <a:lnSpc>
                <a:spcPct val="120000"/>
              </a:lnSpc>
              <a:spcAft>
                <a:spcPts val="600"/>
              </a:spcAft>
              <a:defRPr sz="1600"/>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
        <p:nvSpPr>
          <p:cNvPr id="7" name="Tartalom helye 2">
            <a:extLst>
              <a:ext uri="{FF2B5EF4-FFF2-40B4-BE49-F238E27FC236}">
                <a16:creationId xmlns:a16="http://schemas.microsoft.com/office/drawing/2014/main" id="{D4BB8923-F9F1-EFE7-B580-0B5AC7B37967}"/>
              </a:ext>
            </a:extLst>
          </p:cNvPr>
          <p:cNvSpPr>
            <a:spLocks noGrp="1"/>
          </p:cNvSpPr>
          <p:nvPr>
            <p:ph idx="13"/>
          </p:nvPr>
        </p:nvSpPr>
        <p:spPr>
          <a:xfrm>
            <a:off x="407987" y="432176"/>
            <a:ext cx="11341099" cy="391374"/>
          </a:xfrm>
        </p:spPr>
        <p:txBody>
          <a:bodyPr lIns="0">
            <a:noAutofit/>
          </a:bodyPr>
          <a:lstStyle>
            <a:lvl1pPr marL="0" indent="0">
              <a:lnSpc>
                <a:spcPct val="120000"/>
              </a:lnSpc>
              <a:spcAft>
                <a:spcPts val="600"/>
              </a:spcAft>
              <a:buNone/>
              <a:defRPr sz="1600">
                <a:solidFill>
                  <a:schemeClr val="accent5"/>
                </a:solidFill>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endParaRPr lang="en-US"/>
          </a:p>
        </p:txBody>
      </p:sp>
      <p:pic>
        <p:nvPicPr>
          <p:cNvPr id="5" name="Ábra 4">
            <a:extLst>
              <a:ext uri="{FF2B5EF4-FFF2-40B4-BE49-F238E27FC236}">
                <a16:creationId xmlns:a16="http://schemas.microsoft.com/office/drawing/2014/main" id="{28ED8307-F35A-8BB1-7A14-B0B460A476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Tree>
    <p:extLst>
      <p:ext uri="{BB962C8B-B14F-4D97-AF65-F5344CB8AC3E}">
        <p14:creationId xmlns:p14="http://schemas.microsoft.com/office/powerpoint/2010/main" val="21770907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pre-header 7">
    <p:spTree>
      <p:nvGrpSpPr>
        <p:cNvPr id="1" name=""/>
        <p:cNvGrpSpPr/>
        <p:nvPr/>
      </p:nvGrpSpPr>
      <p:grpSpPr>
        <a:xfrm>
          <a:off x="0" y="0"/>
          <a:ext cx="0" cy="0"/>
          <a:chOff x="0" y="0"/>
          <a:chExt cx="0" cy="0"/>
        </a:xfrm>
      </p:grpSpPr>
      <p:sp>
        <p:nvSpPr>
          <p:cNvPr id="8" name="Téglalap 7">
            <a:extLst>
              <a:ext uri="{FF2B5EF4-FFF2-40B4-BE49-F238E27FC236}">
                <a16:creationId xmlns:a16="http://schemas.microsoft.com/office/drawing/2014/main" id="{B7EB88C6-46D9-F7E3-AB1A-5B9783005B4F}"/>
              </a:ext>
            </a:extLst>
          </p:cNvPr>
          <p:cNvSpPr/>
          <p:nvPr userDrawn="1"/>
        </p:nvSpPr>
        <p:spPr>
          <a:xfrm>
            <a:off x="0" y="1"/>
            <a:ext cx="8128042"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963466"/>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lIns="0">
            <a:spAutoFit/>
          </a:bodyPr>
          <a:lstStyle>
            <a:lvl1pPr>
              <a:lnSpc>
                <a:spcPct val="120000"/>
              </a:lnSpc>
              <a:spcAft>
                <a:spcPts val="600"/>
              </a:spcAft>
              <a:defRPr sz="1600"/>
            </a:lvl1pPr>
            <a:lvl2pPr>
              <a:lnSpc>
                <a:spcPct val="120000"/>
              </a:lnSpc>
              <a:spcAft>
                <a:spcPts val="600"/>
              </a:spcAft>
              <a:defRPr sz="1600"/>
            </a:lvl2pPr>
            <a:lvl3pPr>
              <a:lnSpc>
                <a:spcPct val="120000"/>
              </a:lnSpc>
              <a:spcAft>
                <a:spcPts val="600"/>
              </a:spcAft>
              <a:defRPr sz="1600"/>
            </a:lvl3pPr>
            <a:lvl4pPr>
              <a:lnSpc>
                <a:spcPct val="120000"/>
              </a:lnSpc>
              <a:spcAft>
                <a:spcPts val="600"/>
              </a:spcAft>
              <a:defRPr sz="1600"/>
            </a:lvl4pPr>
            <a:lvl5pPr>
              <a:lnSpc>
                <a:spcPct val="120000"/>
              </a:lnSpc>
              <a:spcAft>
                <a:spcPts val="600"/>
              </a:spcAft>
              <a:defRPr sz="1600"/>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
        <p:nvSpPr>
          <p:cNvPr id="7" name="Tartalom helye 2">
            <a:extLst>
              <a:ext uri="{FF2B5EF4-FFF2-40B4-BE49-F238E27FC236}">
                <a16:creationId xmlns:a16="http://schemas.microsoft.com/office/drawing/2014/main" id="{D4BB8923-F9F1-EFE7-B580-0B5AC7B37967}"/>
              </a:ext>
            </a:extLst>
          </p:cNvPr>
          <p:cNvSpPr>
            <a:spLocks noGrp="1"/>
          </p:cNvSpPr>
          <p:nvPr>
            <p:ph idx="13"/>
          </p:nvPr>
        </p:nvSpPr>
        <p:spPr>
          <a:xfrm>
            <a:off x="407987" y="432176"/>
            <a:ext cx="11341099" cy="391374"/>
          </a:xfrm>
        </p:spPr>
        <p:txBody>
          <a:bodyPr lIns="0">
            <a:noAutofit/>
          </a:bodyPr>
          <a:lstStyle>
            <a:lvl1pPr marL="0" indent="0">
              <a:lnSpc>
                <a:spcPct val="120000"/>
              </a:lnSpc>
              <a:spcAft>
                <a:spcPts val="600"/>
              </a:spcAft>
              <a:buNone/>
              <a:defRPr sz="1600">
                <a:solidFill>
                  <a:schemeClr val="accent5"/>
                </a:solidFill>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endParaRPr lang="en-US"/>
          </a:p>
        </p:txBody>
      </p:sp>
      <p:pic>
        <p:nvPicPr>
          <p:cNvPr id="5" name="Ábra 4">
            <a:extLst>
              <a:ext uri="{FF2B5EF4-FFF2-40B4-BE49-F238E27FC236}">
                <a16:creationId xmlns:a16="http://schemas.microsoft.com/office/drawing/2014/main" id="{28ED8307-F35A-8BB1-7A14-B0B460A476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Tree>
    <p:extLst>
      <p:ext uri="{BB962C8B-B14F-4D97-AF65-F5344CB8AC3E}">
        <p14:creationId xmlns:p14="http://schemas.microsoft.com/office/powerpoint/2010/main" val="26038828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pre-header 8">
    <p:spTree>
      <p:nvGrpSpPr>
        <p:cNvPr id="1" name=""/>
        <p:cNvGrpSpPr/>
        <p:nvPr/>
      </p:nvGrpSpPr>
      <p:grpSpPr>
        <a:xfrm>
          <a:off x="0" y="0"/>
          <a:ext cx="0" cy="0"/>
          <a:chOff x="0" y="0"/>
          <a:chExt cx="0" cy="0"/>
        </a:xfrm>
      </p:grpSpPr>
      <p:sp>
        <p:nvSpPr>
          <p:cNvPr id="8" name="Téglalap 7">
            <a:extLst>
              <a:ext uri="{FF2B5EF4-FFF2-40B4-BE49-F238E27FC236}">
                <a16:creationId xmlns:a16="http://schemas.microsoft.com/office/drawing/2014/main" id="{B7EB88C6-46D9-F7E3-AB1A-5B9783005B4F}"/>
              </a:ext>
            </a:extLst>
          </p:cNvPr>
          <p:cNvSpPr/>
          <p:nvPr userDrawn="1"/>
        </p:nvSpPr>
        <p:spPr>
          <a:xfrm>
            <a:off x="4063958" y="1"/>
            <a:ext cx="8128042"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F9428877-86F4-D38A-CD8B-2E408D5996E2}"/>
              </a:ext>
            </a:extLst>
          </p:cNvPr>
          <p:cNvSpPr>
            <a:spLocks noGrp="1"/>
          </p:cNvSpPr>
          <p:nvPr>
            <p:ph type="title"/>
          </p:nvPr>
        </p:nvSpPr>
        <p:spPr>
          <a:xfrm>
            <a:off x="407988" y="963466"/>
            <a:ext cx="11341100" cy="590931"/>
          </a:xfrm>
        </p:spPr>
        <p:txBody>
          <a:bodyPr/>
          <a:lstStyle>
            <a:lvl1pPr>
              <a:defRPr/>
            </a:lvl1pPr>
          </a:lstStyle>
          <a:p>
            <a:endParaRPr lang="en-US"/>
          </a:p>
        </p:txBody>
      </p:sp>
      <p:sp>
        <p:nvSpPr>
          <p:cNvPr id="3" name="Tartalom helye 2">
            <a:extLst>
              <a:ext uri="{FF2B5EF4-FFF2-40B4-BE49-F238E27FC236}">
                <a16:creationId xmlns:a16="http://schemas.microsoft.com/office/drawing/2014/main" id="{AB000B88-064B-5976-F68D-7568D4EC3B64}"/>
              </a:ext>
            </a:extLst>
          </p:cNvPr>
          <p:cNvSpPr>
            <a:spLocks noGrp="1"/>
          </p:cNvSpPr>
          <p:nvPr>
            <p:ph idx="1"/>
          </p:nvPr>
        </p:nvSpPr>
        <p:spPr>
          <a:xfrm>
            <a:off x="407987" y="1693904"/>
            <a:ext cx="11341099" cy="4175438"/>
          </a:xfrm>
        </p:spPr>
        <p:txBody>
          <a:bodyPr lIns="0">
            <a:spAutoFit/>
          </a:bodyPr>
          <a:lstStyle>
            <a:lvl1pPr>
              <a:lnSpc>
                <a:spcPct val="120000"/>
              </a:lnSpc>
              <a:spcAft>
                <a:spcPts val="600"/>
              </a:spcAft>
              <a:defRPr sz="1600"/>
            </a:lvl1pPr>
            <a:lvl2pPr>
              <a:lnSpc>
                <a:spcPct val="120000"/>
              </a:lnSpc>
              <a:spcAft>
                <a:spcPts val="600"/>
              </a:spcAft>
              <a:defRPr sz="1600"/>
            </a:lvl2pPr>
            <a:lvl3pPr>
              <a:lnSpc>
                <a:spcPct val="120000"/>
              </a:lnSpc>
              <a:spcAft>
                <a:spcPts val="600"/>
              </a:spcAft>
              <a:defRPr sz="1600"/>
            </a:lvl3pPr>
            <a:lvl4pPr>
              <a:lnSpc>
                <a:spcPct val="120000"/>
              </a:lnSpc>
              <a:spcAft>
                <a:spcPts val="600"/>
              </a:spcAft>
              <a:defRPr sz="1600"/>
            </a:lvl4pPr>
            <a:lvl5pPr>
              <a:lnSpc>
                <a:spcPct val="120000"/>
              </a:lnSpc>
              <a:spcAft>
                <a:spcPts val="600"/>
              </a:spcAft>
              <a:defRPr sz="1600"/>
            </a:lvl5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br>
              <a:rPr lang="hu-HU"/>
            </a:br>
            <a:br>
              <a:rPr lang="hu-HU"/>
            </a:br>
            <a:br>
              <a:rPr lang="hu-HU"/>
            </a:br>
            <a:br>
              <a:rPr lang="hu-HU"/>
            </a:br>
            <a:br>
              <a:rPr lang="hu-HU"/>
            </a:br>
            <a:br>
              <a:rPr lang="hu-HU"/>
            </a:br>
            <a:br>
              <a:rPr lang="hu-HU"/>
            </a:br>
            <a:endParaRPr lang="en-US"/>
          </a:p>
        </p:txBody>
      </p:sp>
      <p:sp>
        <p:nvSpPr>
          <p:cNvPr id="6" name="Dia számának helye 5">
            <a:extLst>
              <a:ext uri="{FF2B5EF4-FFF2-40B4-BE49-F238E27FC236}">
                <a16:creationId xmlns:a16="http://schemas.microsoft.com/office/drawing/2014/main" id="{CC0C854E-F2D6-1E8C-A68E-478F51CA7DC8}"/>
              </a:ext>
            </a:extLst>
          </p:cNvPr>
          <p:cNvSpPr>
            <a:spLocks noGrp="1"/>
          </p:cNvSpPr>
          <p:nvPr>
            <p:ph type="sldNum" sz="quarter" idx="12"/>
          </p:nvPr>
        </p:nvSpPr>
        <p:spPr/>
        <p:txBody>
          <a:bodyPr/>
          <a:lstStyle/>
          <a:p>
            <a:fld id="{61F2D668-955E-AB45-9B4E-D4D3490B1261}" type="slidenum">
              <a:rPr lang="en-US" smtClean="0"/>
              <a:t>‹#›</a:t>
            </a:fld>
            <a:endParaRPr lang="en-US"/>
          </a:p>
        </p:txBody>
      </p:sp>
      <p:sp>
        <p:nvSpPr>
          <p:cNvPr id="7" name="Tartalom helye 2">
            <a:extLst>
              <a:ext uri="{FF2B5EF4-FFF2-40B4-BE49-F238E27FC236}">
                <a16:creationId xmlns:a16="http://schemas.microsoft.com/office/drawing/2014/main" id="{D4BB8923-F9F1-EFE7-B580-0B5AC7B37967}"/>
              </a:ext>
            </a:extLst>
          </p:cNvPr>
          <p:cNvSpPr>
            <a:spLocks noGrp="1"/>
          </p:cNvSpPr>
          <p:nvPr>
            <p:ph idx="13"/>
          </p:nvPr>
        </p:nvSpPr>
        <p:spPr>
          <a:xfrm>
            <a:off x="407987" y="432176"/>
            <a:ext cx="11341099" cy="391374"/>
          </a:xfrm>
        </p:spPr>
        <p:txBody>
          <a:bodyPr lIns="0">
            <a:noAutofit/>
          </a:bodyPr>
          <a:lstStyle>
            <a:lvl1pPr marL="0" indent="0">
              <a:lnSpc>
                <a:spcPct val="120000"/>
              </a:lnSpc>
              <a:spcAft>
                <a:spcPts val="600"/>
              </a:spcAft>
              <a:buNone/>
              <a:defRPr sz="1600">
                <a:solidFill>
                  <a:schemeClr val="accent5"/>
                </a:solidFill>
              </a:defRPr>
            </a:lvl1pPr>
            <a:lvl2pPr>
              <a:lnSpc>
                <a:spcPct val="120000"/>
              </a:lnSpc>
              <a:spcAft>
                <a:spcPts val="600"/>
              </a:spcAft>
              <a:defRPr/>
            </a:lvl2pPr>
            <a:lvl3pPr>
              <a:lnSpc>
                <a:spcPct val="120000"/>
              </a:lnSpc>
              <a:spcAft>
                <a:spcPts val="600"/>
              </a:spcAft>
              <a:defRPr/>
            </a:lvl3pPr>
            <a:lvl4pPr>
              <a:lnSpc>
                <a:spcPct val="120000"/>
              </a:lnSpc>
              <a:spcAft>
                <a:spcPts val="600"/>
              </a:spcAft>
              <a:defRPr/>
            </a:lvl4pPr>
            <a:lvl5pPr>
              <a:lnSpc>
                <a:spcPct val="120000"/>
              </a:lnSpc>
              <a:spcAft>
                <a:spcPts val="600"/>
              </a:spcAft>
              <a:defRPr/>
            </a:lvl5pPr>
          </a:lstStyle>
          <a:p>
            <a:pPr lvl="0"/>
            <a:endParaRPr lang="en-US"/>
          </a:p>
        </p:txBody>
      </p:sp>
      <p:pic>
        <p:nvPicPr>
          <p:cNvPr id="5" name="Ábra 4">
            <a:extLst>
              <a:ext uri="{FF2B5EF4-FFF2-40B4-BE49-F238E27FC236}">
                <a16:creationId xmlns:a16="http://schemas.microsoft.com/office/drawing/2014/main" id="{28ED8307-F35A-8BB1-7A14-B0B460A476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2914" y="6348192"/>
            <a:ext cx="1184657" cy="239210"/>
          </a:xfrm>
          <a:prstGeom prst="rect">
            <a:avLst/>
          </a:prstGeom>
        </p:spPr>
      </p:pic>
    </p:spTree>
    <p:extLst>
      <p:ext uri="{BB962C8B-B14F-4D97-AF65-F5344CB8AC3E}">
        <p14:creationId xmlns:p14="http://schemas.microsoft.com/office/powerpoint/2010/main" val="3486959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FB09DD-3C86-34AD-8C84-2AE6C5F8E9A3}"/>
              </a:ext>
            </a:extLst>
          </p:cNvPr>
          <p:cNvGraphicFramePr>
            <a:graphicFrameLocks noChangeAspect="1"/>
          </p:cNvGraphicFramePr>
          <p:nvPr userDrawn="1">
            <p:custDataLst>
              <p:tags r:id="rId23"/>
            </p:custDataLst>
            <p:extLst>
              <p:ext uri="{D42A27DB-BD31-4B8C-83A1-F6EECF244321}">
                <p14:modId xmlns:p14="http://schemas.microsoft.com/office/powerpoint/2010/main" val="3380686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6" imgH="403" progId="TCLayout.ActiveDocument.1">
                  <p:embed/>
                </p:oleObj>
              </mc:Choice>
              <mc:Fallback>
                <p:oleObj name="think-cell Slide" r:id="rId24" imgW="406" imgH="403" progId="TCLayout.ActiveDocument.1">
                  <p:embed/>
                  <p:pic>
                    <p:nvPicPr>
                      <p:cNvPr id="8" name="Object 7" hidden="1">
                        <a:extLst>
                          <a:ext uri="{FF2B5EF4-FFF2-40B4-BE49-F238E27FC236}">
                            <a16:creationId xmlns:a16="http://schemas.microsoft.com/office/drawing/2014/main" id="{1FFB09DD-3C86-34AD-8C84-2AE6C5F8E9A3}"/>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Cím helye 1">
            <a:extLst>
              <a:ext uri="{FF2B5EF4-FFF2-40B4-BE49-F238E27FC236}">
                <a16:creationId xmlns:a16="http://schemas.microsoft.com/office/drawing/2014/main" id="{848627DD-9538-8CE7-B22D-C22720A8C657}"/>
              </a:ext>
            </a:extLst>
          </p:cNvPr>
          <p:cNvSpPr>
            <a:spLocks noGrp="1"/>
          </p:cNvSpPr>
          <p:nvPr>
            <p:ph type="title"/>
          </p:nvPr>
        </p:nvSpPr>
        <p:spPr>
          <a:xfrm>
            <a:off x="407988" y="404813"/>
            <a:ext cx="11341100" cy="584775"/>
          </a:xfrm>
          <a:prstGeom prst="rect">
            <a:avLst/>
          </a:prstGeom>
        </p:spPr>
        <p:txBody>
          <a:bodyPr vert="horz" lIns="0" tIns="45720" rIns="91440" bIns="45720" rtlCol="0" anchor="t" anchorCtr="0">
            <a:spAutoFit/>
          </a:bodyPr>
          <a:lstStyle/>
          <a:p>
            <a:r>
              <a:rPr lang="hu-HU"/>
              <a:t>Mintacím szerkesztése</a:t>
            </a:r>
            <a:endParaRPr lang="en-US"/>
          </a:p>
        </p:txBody>
      </p:sp>
      <p:sp>
        <p:nvSpPr>
          <p:cNvPr id="3" name="Szöveg helye 2">
            <a:extLst>
              <a:ext uri="{FF2B5EF4-FFF2-40B4-BE49-F238E27FC236}">
                <a16:creationId xmlns:a16="http://schemas.microsoft.com/office/drawing/2014/main" id="{6BC610D1-575F-ECF6-2183-D2E011BBF205}"/>
              </a:ext>
            </a:extLst>
          </p:cNvPr>
          <p:cNvSpPr>
            <a:spLocks noGrp="1"/>
          </p:cNvSpPr>
          <p:nvPr>
            <p:ph type="body" idx="1"/>
          </p:nvPr>
        </p:nvSpPr>
        <p:spPr>
          <a:xfrm>
            <a:off x="407987" y="1825625"/>
            <a:ext cx="11341099" cy="2033314"/>
          </a:xfrm>
          <a:prstGeom prst="rect">
            <a:avLst/>
          </a:prstGeom>
        </p:spPr>
        <p:txBody>
          <a:bodyPr vert="horz" lIns="91440" tIns="45720" rIns="91440" bIns="45720" rtlCol="0">
            <a:sp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
        <p:nvSpPr>
          <p:cNvPr id="4" name="Dátum helye 3">
            <a:extLst>
              <a:ext uri="{FF2B5EF4-FFF2-40B4-BE49-F238E27FC236}">
                <a16:creationId xmlns:a16="http://schemas.microsoft.com/office/drawing/2014/main" id="{97A504CC-F12E-0489-D2F8-FFDB5D4EC35F}"/>
              </a:ext>
            </a:extLst>
          </p:cNvPr>
          <p:cNvSpPr>
            <a:spLocks noGrp="1"/>
          </p:cNvSpPr>
          <p:nvPr>
            <p:ph type="dt" sz="half" idx="2"/>
          </p:nvPr>
        </p:nvSpPr>
        <p:spPr>
          <a:xfrm>
            <a:off x="1916982" y="6329481"/>
            <a:ext cx="1289024" cy="246221"/>
          </a:xfrm>
          <a:prstGeom prst="rect">
            <a:avLst/>
          </a:prstGeom>
        </p:spPr>
        <p:txBody>
          <a:bodyPr vert="horz" wrap="square" lIns="91440" tIns="45720" rIns="91440" bIns="45720" rtlCol="0" anchor="ctr">
            <a:spAutoFit/>
          </a:bodyPr>
          <a:lstStyle>
            <a:lvl1pPr algn="l">
              <a:defRPr sz="1000" b="0" i="0">
                <a:solidFill>
                  <a:schemeClr val="bg1">
                    <a:lumMod val="50000"/>
                  </a:schemeClr>
                </a:solidFill>
                <a:latin typeface="Open Sauce One" pitchFamily="2" charset="0"/>
              </a:defRPr>
            </a:lvl1pPr>
          </a:lstStyle>
          <a:p>
            <a:fld id="{A2231FF2-4DB4-DC44-B1FA-15E7782B356D}" type="datetime1">
              <a:rPr lang="hu-HU" smtClean="0"/>
              <a:t>2023. 12. 20.</a:t>
            </a:fld>
            <a:endParaRPr lang="en-US"/>
          </a:p>
        </p:txBody>
      </p:sp>
      <p:sp>
        <p:nvSpPr>
          <p:cNvPr id="5" name="Élőláb helye 4">
            <a:extLst>
              <a:ext uri="{FF2B5EF4-FFF2-40B4-BE49-F238E27FC236}">
                <a16:creationId xmlns:a16="http://schemas.microsoft.com/office/drawing/2014/main" id="{542E4E59-3D41-6E16-245B-98F974E42D65}"/>
              </a:ext>
            </a:extLst>
          </p:cNvPr>
          <p:cNvSpPr>
            <a:spLocks noGrp="1"/>
          </p:cNvSpPr>
          <p:nvPr>
            <p:ph type="ftr" sz="quarter" idx="3"/>
          </p:nvPr>
        </p:nvSpPr>
        <p:spPr>
          <a:xfrm>
            <a:off x="3381231" y="6329481"/>
            <a:ext cx="4114800" cy="246221"/>
          </a:xfrm>
          <a:prstGeom prst="rect">
            <a:avLst/>
          </a:prstGeom>
        </p:spPr>
        <p:txBody>
          <a:bodyPr vert="horz" lIns="91440" tIns="45720" rIns="91440" bIns="45720" rtlCol="0" anchor="ctr">
            <a:spAutoFit/>
          </a:bodyPr>
          <a:lstStyle>
            <a:lvl1pPr algn="l">
              <a:defRPr sz="1000" b="0" i="0">
                <a:solidFill>
                  <a:schemeClr val="bg1">
                    <a:lumMod val="50000"/>
                  </a:schemeClr>
                </a:solidFill>
                <a:latin typeface="Open Sauce One" pitchFamily="2" charset="0"/>
              </a:defRPr>
            </a:lvl1pPr>
          </a:lstStyle>
          <a:p>
            <a:endParaRPr lang="en-US"/>
          </a:p>
        </p:txBody>
      </p:sp>
      <p:sp>
        <p:nvSpPr>
          <p:cNvPr id="6" name="Dia számának helye 5">
            <a:extLst>
              <a:ext uri="{FF2B5EF4-FFF2-40B4-BE49-F238E27FC236}">
                <a16:creationId xmlns:a16="http://schemas.microsoft.com/office/drawing/2014/main" id="{9F1AF005-2BB0-EAB9-03C9-8AA56395D5B4}"/>
              </a:ext>
            </a:extLst>
          </p:cNvPr>
          <p:cNvSpPr>
            <a:spLocks noGrp="1"/>
          </p:cNvSpPr>
          <p:nvPr>
            <p:ph type="sldNum" sz="quarter" idx="4"/>
          </p:nvPr>
        </p:nvSpPr>
        <p:spPr>
          <a:xfrm>
            <a:off x="9005886" y="6329481"/>
            <a:ext cx="2743200" cy="246221"/>
          </a:xfrm>
          <a:prstGeom prst="rect">
            <a:avLst/>
          </a:prstGeom>
        </p:spPr>
        <p:txBody>
          <a:bodyPr vert="horz" lIns="91440" tIns="45720" rIns="91440" bIns="45720" rtlCol="0" anchor="ctr">
            <a:spAutoFit/>
          </a:bodyPr>
          <a:lstStyle>
            <a:lvl1pPr algn="r">
              <a:defRPr sz="1000" b="0" i="0">
                <a:solidFill>
                  <a:schemeClr val="bg1">
                    <a:lumMod val="50000"/>
                  </a:schemeClr>
                </a:solidFill>
                <a:latin typeface="Open Sauce One" pitchFamily="2" charset="0"/>
              </a:defRPr>
            </a:lvl1pPr>
          </a:lstStyle>
          <a:p>
            <a:fld id="{61F2D668-955E-AB45-9B4E-D4D3490B1261}" type="slidenum">
              <a:rPr lang="en-US" smtClean="0"/>
              <a:pPr/>
              <a:t>‹#›</a:t>
            </a:fld>
            <a:endParaRPr lang="en-US"/>
          </a:p>
        </p:txBody>
      </p:sp>
      <p:pic>
        <p:nvPicPr>
          <p:cNvPr id="9" name="Ábra 8">
            <a:extLst>
              <a:ext uri="{FF2B5EF4-FFF2-40B4-BE49-F238E27FC236}">
                <a16:creationId xmlns:a16="http://schemas.microsoft.com/office/drawing/2014/main" id="{830D333D-E88F-6D17-2C69-9F93D67D4BFD}"/>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442914" y="6348192"/>
            <a:ext cx="1184657" cy="239210"/>
          </a:xfrm>
          <a:prstGeom prst="rect">
            <a:avLst/>
          </a:prstGeom>
        </p:spPr>
      </p:pic>
    </p:spTree>
    <p:extLst>
      <p:ext uri="{BB962C8B-B14F-4D97-AF65-F5344CB8AC3E}">
        <p14:creationId xmlns:p14="http://schemas.microsoft.com/office/powerpoint/2010/main" val="25637913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2" r:id="rId4"/>
    <p:sldLayoutId id="2147483663" r:id="rId5"/>
    <p:sldLayoutId id="2147483664" r:id="rId6"/>
    <p:sldLayoutId id="2147483665" r:id="rId7"/>
    <p:sldLayoutId id="2147483666" r:id="rId8"/>
    <p:sldLayoutId id="2147483667" r:id="rId9"/>
    <p:sldLayoutId id="2147483660" r:id="rId10"/>
    <p:sldLayoutId id="2147483668" r:id="rId11"/>
    <p:sldLayoutId id="2147483669" r:id="rId12"/>
    <p:sldLayoutId id="2147483670" r:id="rId13"/>
    <p:sldLayoutId id="2147483671" r:id="rId14"/>
    <p:sldLayoutId id="2147483672" r:id="rId15"/>
    <p:sldLayoutId id="2147483673" r:id="rId16"/>
    <p:sldLayoutId id="2147483674" r:id="rId17"/>
    <p:sldLayoutId id="2147483651" r:id="rId18"/>
    <p:sldLayoutId id="2147483675" r:id="rId19"/>
    <p:sldLayoutId id="2147483654" r:id="rId20"/>
    <p:sldLayoutId id="2147483655" r:id="rId21"/>
  </p:sldLayoutIdLst>
  <p:hf hdr="0" ftr="0" dt="0"/>
  <p:txStyles>
    <p:titleStyle>
      <a:lvl1pPr algn="l" defTabSz="914400" rtl="0" eaLnBrk="1" latinLnBrk="0" hangingPunct="1">
        <a:lnSpc>
          <a:spcPct val="100000"/>
        </a:lnSpc>
        <a:spcBef>
          <a:spcPct val="0"/>
        </a:spcBef>
        <a:buNone/>
        <a:defRPr sz="3200" b="1" kern="1200">
          <a:solidFill>
            <a:schemeClr val="tx2"/>
          </a:solidFill>
          <a:latin typeface="Open Sauce One" pitchFamily="2" charset="0"/>
          <a:ea typeface="+mj-ea"/>
          <a:cs typeface="+mj-cs"/>
        </a:defRPr>
      </a:lvl1pPr>
    </p:titleStyle>
    <p:body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pos="3840">
          <p15:clr>
            <a:srgbClr val="F26B43"/>
          </p15:clr>
        </p15:guide>
        <p15:guide id="3" pos="257">
          <p15:clr>
            <a:srgbClr val="F26B43"/>
          </p15:clr>
        </p15:guide>
        <p15:guide id="4" pos="7401">
          <p15:clr>
            <a:srgbClr val="F26B43"/>
          </p15:clr>
        </p15:guide>
        <p15:guide id="5" orient="horz" pos="255">
          <p15:clr>
            <a:srgbClr val="F26B43"/>
          </p15:clr>
        </p15:guide>
        <p15:guide id="6" orient="horz" pos="415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1.xml"/><Relationship Id="rId1" Type="http://schemas.openxmlformats.org/officeDocument/2006/relationships/tags" Target="../tags/tag242.xml"/><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oleObject" Target="../embeddings/oleObject12.bin"/><Relationship Id="rId7" Type="http://schemas.openxmlformats.org/officeDocument/2006/relationships/image" Target="../media/image6.png"/><Relationship Id="rId2" Type="http://schemas.openxmlformats.org/officeDocument/2006/relationships/slideLayout" Target="../slideLayouts/slideLayout11.xml"/><Relationship Id="rId1" Type="http://schemas.openxmlformats.org/officeDocument/2006/relationships/tags" Target="../tags/tag243.xml"/><Relationship Id="rId6" Type="http://schemas.openxmlformats.org/officeDocument/2006/relationships/hyperlink" Target="http://www.hypatos.ai/" TargetMode="External"/><Relationship Id="rId5" Type="http://schemas.openxmlformats.org/officeDocument/2006/relationships/image" Target="../media/image14.jpeg"/><Relationship Id="rId4" Type="http://schemas.openxmlformats.org/officeDocument/2006/relationships/image" Target="../media/image9.emf"/><Relationship Id="rId9" Type="http://schemas.openxmlformats.org/officeDocument/2006/relationships/image" Target="../media/image16.jpeg"/></Relationships>
</file>

<file path=ppt/slides/_rels/slide12.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tags" Target="../tags/tag256.xml"/><Relationship Id="rId18" Type="http://schemas.openxmlformats.org/officeDocument/2006/relationships/tags" Target="../tags/tag261.xml"/><Relationship Id="rId26" Type="http://schemas.openxmlformats.org/officeDocument/2006/relationships/image" Target="../media/image17.emf"/><Relationship Id="rId3" Type="http://schemas.openxmlformats.org/officeDocument/2006/relationships/tags" Target="../tags/tag246.xml"/><Relationship Id="rId21" Type="http://schemas.openxmlformats.org/officeDocument/2006/relationships/tags" Target="../tags/tag264.xml"/><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tags" Target="../tags/tag260.xml"/><Relationship Id="rId25" Type="http://schemas.openxmlformats.org/officeDocument/2006/relationships/oleObject" Target="../embeddings/oleObject13.bin"/><Relationship Id="rId2" Type="http://schemas.openxmlformats.org/officeDocument/2006/relationships/tags" Target="../tags/tag245.xml"/><Relationship Id="rId16" Type="http://schemas.openxmlformats.org/officeDocument/2006/relationships/tags" Target="../tags/tag259.xml"/><Relationship Id="rId20" Type="http://schemas.openxmlformats.org/officeDocument/2006/relationships/tags" Target="../tags/tag263.xml"/><Relationship Id="rId1" Type="http://schemas.openxmlformats.org/officeDocument/2006/relationships/tags" Target="../tags/tag244.xml"/><Relationship Id="rId6" Type="http://schemas.openxmlformats.org/officeDocument/2006/relationships/tags" Target="../tags/tag249.xml"/><Relationship Id="rId11" Type="http://schemas.openxmlformats.org/officeDocument/2006/relationships/tags" Target="../tags/tag254.xml"/><Relationship Id="rId24" Type="http://schemas.openxmlformats.org/officeDocument/2006/relationships/slideLayout" Target="../slideLayouts/slideLayout3.xml"/><Relationship Id="rId5" Type="http://schemas.openxmlformats.org/officeDocument/2006/relationships/tags" Target="../tags/tag248.xml"/><Relationship Id="rId15" Type="http://schemas.openxmlformats.org/officeDocument/2006/relationships/tags" Target="../tags/tag258.xml"/><Relationship Id="rId23" Type="http://schemas.openxmlformats.org/officeDocument/2006/relationships/tags" Target="../tags/tag266.xml"/><Relationship Id="rId28" Type="http://schemas.openxmlformats.org/officeDocument/2006/relationships/chart" Target="../charts/chart2.xml"/><Relationship Id="rId10" Type="http://schemas.openxmlformats.org/officeDocument/2006/relationships/tags" Target="../tags/tag253.xml"/><Relationship Id="rId19" Type="http://schemas.openxmlformats.org/officeDocument/2006/relationships/tags" Target="../tags/tag262.xml"/><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tags" Target="../tags/tag265.xml"/><Relationship Id="rId27" Type="http://schemas.openxmlformats.org/officeDocument/2006/relationships/chart" Target="../charts/chart1.xml"/></Relationships>
</file>

<file path=ppt/slides/_rels/slide13.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tags" Target="../tags/tag279.xml"/><Relationship Id="rId18" Type="http://schemas.openxmlformats.org/officeDocument/2006/relationships/tags" Target="../tags/tag284.xml"/><Relationship Id="rId3" Type="http://schemas.openxmlformats.org/officeDocument/2006/relationships/tags" Target="../tags/tag269.xml"/><Relationship Id="rId21" Type="http://schemas.openxmlformats.org/officeDocument/2006/relationships/oleObject" Target="../embeddings/oleObject14.bin"/><Relationship Id="rId7" Type="http://schemas.openxmlformats.org/officeDocument/2006/relationships/tags" Target="../tags/tag273.xml"/><Relationship Id="rId12" Type="http://schemas.openxmlformats.org/officeDocument/2006/relationships/tags" Target="../tags/tag278.xml"/><Relationship Id="rId17" Type="http://schemas.openxmlformats.org/officeDocument/2006/relationships/tags" Target="../tags/tag283.xml"/><Relationship Id="rId2" Type="http://schemas.openxmlformats.org/officeDocument/2006/relationships/tags" Target="../tags/tag268.xml"/><Relationship Id="rId16" Type="http://schemas.openxmlformats.org/officeDocument/2006/relationships/tags" Target="../tags/tag282.xml"/><Relationship Id="rId20" Type="http://schemas.openxmlformats.org/officeDocument/2006/relationships/notesSlide" Target="../notesSlides/notesSlide6.xml"/><Relationship Id="rId1" Type="http://schemas.openxmlformats.org/officeDocument/2006/relationships/tags" Target="../tags/tag267.xml"/><Relationship Id="rId6" Type="http://schemas.openxmlformats.org/officeDocument/2006/relationships/tags" Target="../tags/tag272.xml"/><Relationship Id="rId11" Type="http://schemas.openxmlformats.org/officeDocument/2006/relationships/tags" Target="../tags/tag277.xml"/><Relationship Id="rId24" Type="http://schemas.openxmlformats.org/officeDocument/2006/relationships/chart" Target="../charts/chart4.xml"/><Relationship Id="rId5" Type="http://schemas.openxmlformats.org/officeDocument/2006/relationships/tags" Target="../tags/tag271.xml"/><Relationship Id="rId15" Type="http://schemas.openxmlformats.org/officeDocument/2006/relationships/tags" Target="../tags/tag281.xml"/><Relationship Id="rId23" Type="http://schemas.openxmlformats.org/officeDocument/2006/relationships/chart" Target="../charts/chart3.xml"/><Relationship Id="rId10" Type="http://schemas.openxmlformats.org/officeDocument/2006/relationships/tags" Target="../tags/tag276.xml"/><Relationship Id="rId19" Type="http://schemas.openxmlformats.org/officeDocument/2006/relationships/slideLayout" Target="../slideLayouts/slideLayout3.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tags" Target="../tags/tag280.xml"/><Relationship Id="rId22" Type="http://schemas.openxmlformats.org/officeDocument/2006/relationships/image" Target="../media/image17.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285.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13" Type="http://schemas.openxmlformats.org/officeDocument/2006/relationships/tags" Target="../tags/tag298.xml"/><Relationship Id="rId18" Type="http://schemas.openxmlformats.org/officeDocument/2006/relationships/tags" Target="../tags/tag303.xml"/><Relationship Id="rId26" Type="http://schemas.openxmlformats.org/officeDocument/2006/relationships/tags" Target="../tags/tag311.xml"/><Relationship Id="rId39" Type="http://schemas.openxmlformats.org/officeDocument/2006/relationships/hyperlink" Target="https://cloud.hypatos.com/projects/kp-pilot-non-po-qa-full-data-set-vw0i524b/64f7396d8f54739bd8d92a07" TargetMode="External"/><Relationship Id="rId21" Type="http://schemas.openxmlformats.org/officeDocument/2006/relationships/tags" Target="../tags/tag306.xml"/><Relationship Id="rId34" Type="http://schemas.openxmlformats.org/officeDocument/2006/relationships/notesSlide" Target="../notesSlides/notesSlide8.xml"/><Relationship Id="rId42" Type="http://schemas.openxmlformats.org/officeDocument/2006/relationships/hyperlink" Target="https://cloud.hypatos.com/projects/kp-pilot-non-po-qa-full-data-set-vw0i524b/64f73981bded87651aa3eeb1" TargetMode="External"/><Relationship Id="rId7" Type="http://schemas.openxmlformats.org/officeDocument/2006/relationships/tags" Target="../tags/tag292.xml"/><Relationship Id="rId2" Type="http://schemas.openxmlformats.org/officeDocument/2006/relationships/tags" Target="../tags/tag287.xml"/><Relationship Id="rId16" Type="http://schemas.openxmlformats.org/officeDocument/2006/relationships/tags" Target="../tags/tag301.xml"/><Relationship Id="rId20" Type="http://schemas.openxmlformats.org/officeDocument/2006/relationships/tags" Target="../tags/tag305.xml"/><Relationship Id="rId29" Type="http://schemas.openxmlformats.org/officeDocument/2006/relationships/tags" Target="../tags/tag314.xml"/><Relationship Id="rId41" Type="http://schemas.openxmlformats.org/officeDocument/2006/relationships/hyperlink" Target="https://cloud.hypatos.com/projects/kp-pilot-non-po-qa-full-data-set-vw0i524b/64f7397039bc33dc4a1b2920" TargetMode="External"/><Relationship Id="rId1" Type="http://schemas.openxmlformats.org/officeDocument/2006/relationships/tags" Target="../tags/tag286.xml"/><Relationship Id="rId6" Type="http://schemas.openxmlformats.org/officeDocument/2006/relationships/tags" Target="../tags/tag291.xml"/><Relationship Id="rId11" Type="http://schemas.openxmlformats.org/officeDocument/2006/relationships/tags" Target="../tags/tag296.xml"/><Relationship Id="rId24" Type="http://schemas.openxmlformats.org/officeDocument/2006/relationships/tags" Target="../tags/tag309.xml"/><Relationship Id="rId32" Type="http://schemas.openxmlformats.org/officeDocument/2006/relationships/tags" Target="../tags/tag317.xml"/><Relationship Id="rId37" Type="http://schemas.openxmlformats.org/officeDocument/2006/relationships/chart" Target="../charts/chart5.xml"/><Relationship Id="rId40" Type="http://schemas.openxmlformats.org/officeDocument/2006/relationships/hyperlink" Target="https://cloud.hypatos.com/projects/kp-pilot-non-po-qa-full-data-set-vw0i524b/64f7396f39bc33dc4a1b291a" TargetMode="External"/><Relationship Id="rId5" Type="http://schemas.openxmlformats.org/officeDocument/2006/relationships/tags" Target="../tags/tag290.xml"/><Relationship Id="rId15" Type="http://schemas.openxmlformats.org/officeDocument/2006/relationships/tags" Target="../tags/tag300.xml"/><Relationship Id="rId23" Type="http://schemas.openxmlformats.org/officeDocument/2006/relationships/tags" Target="../tags/tag308.xml"/><Relationship Id="rId28" Type="http://schemas.openxmlformats.org/officeDocument/2006/relationships/tags" Target="../tags/tag313.xml"/><Relationship Id="rId36" Type="http://schemas.openxmlformats.org/officeDocument/2006/relationships/image" Target="../media/image17.emf"/><Relationship Id="rId10" Type="http://schemas.openxmlformats.org/officeDocument/2006/relationships/tags" Target="../tags/tag295.xml"/><Relationship Id="rId19" Type="http://schemas.openxmlformats.org/officeDocument/2006/relationships/tags" Target="../tags/tag304.xml"/><Relationship Id="rId31" Type="http://schemas.openxmlformats.org/officeDocument/2006/relationships/tags" Target="../tags/tag316.xml"/><Relationship Id="rId44" Type="http://schemas.openxmlformats.org/officeDocument/2006/relationships/hyperlink" Target="https://cloud.hypatos.com/projects/kp-pilot-non-po-qa-full-data-set-vw0i524b/64f7397c39bc33dc4a1b292e" TargetMode="External"/><Relationship Id="rId4" Type="http://schemas.openxmlformats.org/officeDocument/2006/relationships/tags" Target="../tags/tag289.xml"/><Relationship Id="rId9" Type="http://schemas.openxmlformats.org/officeDocument/2006/relationships/tags" Target="../tags/tag294.xml"/><Relationship Id="rId14" Type="http://schemas.openxmlformats.org/officeDocument/2006/relationships/tags" Target="../tags/tag299.xml"/><Relationship Id="rId22" Type="http://schemas.openxmlformats.org/officeDocument/2006/relationships/tags" Target="../tags/tag307.xml"/><Relationship Id="rId27" Type="http://schemas.openxmlformats.org/officeDocument/2006/relationships/tags" Target="../tags/tag312.xml"/><Relationship Id="rId30" Type="http://schemas.openxmlformats.org/officeDocument/2006/relationships/tags" Target="../tags/tag315.xml"/><Relationship Id="rId35" Type="http://schemas.openxmlformats.org/officeDocument/2006/relationships/oleObject" Target="../embeddings/oleObject16.bin"/><Relationship Id="rId43" Type="http://schemas.openxmlformats.org/officeDocument/2006/relationships/hyperlink" Target="https://cloud.hypatos.com/projects/kp-pilot-non-po-qa-full-data-set-vw0i524b/64f7397dbded87651aa3eeaf" TargetMode="External"/><Relationship Id="rId8" Type="http://schemas.openxmlformats.org/officeDocument/2006/relationships/tags" Target="../tags/tag293.xml"/><Relationship Id="rId3" Type="http://schemas.openxmlformats.org/officeDocument/2006/relationships/tags" Target="../tags/tag288.xml"/><Relationship Id="rId12" Type="http://schemas.openxmlformats.org/officeDocument/2006/relationships/tags" Target="../tags/tag297.xml"/><Relationship Id="rId17" Type="http://schemas.openxmlformats.org/officeDocument/2006/relationships/tags" Target="../tags/tag302.xml"/><Relationship Id="rId25" Type="http://schemas.openxmlformats.org/officeDocument/2006/relationships/tags" Target="../tags/tag310.xml"/><Relationship Id="rId33" Type="http://schemas.openxmlformats.org/officeDocument/2006/relationships/slideLayout" Target="../slideLayouts/slideLayout3.xml"/><Relationship Id="rId38" Type="http://schemas.openxmlformats.org/officeDocument/2006/relationships/chart" Target="../charts/chart6.xml"/></Relationships>
</file>

<file path=ppt/slides/_rels/slide16.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tags" Target="../tags/tag330.xml"/><Relationship Id="rId18" Type="http://schemas.openxmlformats.org/officeDocument/2006/relationships/tags" Target="../tags/tag335.xml"/><Relationship Id="rId26" Type="http://schemas.openxmlformats.org/officeDocument/2006/relationships/chart" Target="../charts/chart7.xml"/><Relationship Id="rId3" Type="http://schemas.openxmlformats.org/officeDocument/2006/relationships/tags" Target="../tags/tag320.xml"/><Relationship Id="rId21" Type="http://schemas.openxmlformats.org/officeDocument/2006/relationships/tags" Target="../tags/tag338.xml"/><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tags" Target="../tags/tag334.xml"/><Relationship Id="rId25" Type="http://schemas.openxmlformats.org/officeDocument/2006/relationships/image" Target="../media/image17.emf"/><Relationship Id="rId2" Type="http://schemas.openxmlformats.org/officeDocument/2006/relationships/tags" Target="../tags/tag319.xml"/><Relationship Id="rId16" Type="http://schemas.openxmlformats.org/officeDocument/2006/relationships/tags" Target="../tags/tag333.xml"/><Relationship Id="rId20" Type="http://schemas.openxmlformats.org/officeDocument/2006/relationships/tags" Target="../tags/tag337.xml"/><Relationship Id="rId1" Type="http://schemas.openxmlformats.org/officeDocument/2006/relationships/tags" Target="../tags/tag318.xml"/><Relationship Id="rId6" Type="http://schemas.openxmlformats.org/officeDocument/2006/relationships/tags" Target="../tags/tag323.xml"/><Relationship Id="rId11" Type="http://schemas.openxmlformats.org/officeDocument/2006/relationships/tags" Target="../tags/tag328.xml"/><Relationship Id="rId24" Type="http://schemas.openxmlformats.org/officeDocument/2006/relationships/oleObject" Target="../embeddings/oleObject17.bin"/><Relationship Id="rId5" Type="http://schemas.openxmlformats.org/officeDocument/2006/relationships/tags" Target="../tags/tag322.xml"/><Relationship Id="rId15" Type="http://schemas.openxmlformats.org/officeDocument/2006/relationships/tags" Target="../tags/tag332.xml"/><Relationship Id="rId23" Type="http://schemas.openxmlformats.org/officeDocument/2006/relationships/notesSlide" Target="../notesSlides/notesSlide9.xml"/><Relationship Id="rId10" Type="http://schemas.openxmlformats.org/officeDocument/2006/relationships/tags" Target="../tags/tag327.xml"/><Relationship Id="rId19" Type="http://schemas.openxmlformats.org/officeDocument/2006/relationships/tags" Target="../tags/tag336.xml"/><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slideLayout" Target="../slideLayouts/slideLayout3.xml"/><Relationship Id="rId27" Type="http://schemas.openxmlformats.org/officeDocument/2006/relationships/chart" Target="../charts/chart8.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8.xml"/><Relationship Id="rId1" Type="http://schemas.openxmlformats.org/officeDocument/2006/relationships/tags" Target="../tags/tag339.xml"/><Relationship Id="rId4" Type="http://schemas.openxmlformats.org/officeDocument/2006/relationships/image" Target="../media/image9.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9.xml"/><Relationship Id="rId1" Type="http://schemas.openxmlformats.org/officeDocument/2006/relationships/tags" Target="../tags/tag340.xml"/><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341.xml"/><Relationship Id="rId4" Type="http://schemas.openxmlformats.org/officeDocument/2006/relationships/image" Target="../media/image9.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tags" Target="../tags/tag4.xml"/><Relationship Id="rId4" Type="http://schemas.openxmlformats.org/officeDocument/2006/relationships/image" Target="../media/image9.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342.xml"/><Relationship Id="rId4" Type="http://schemas.openxmlformats.org/officeDocument/2006/relationships/image" Target="../media/image9.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343.xml"/><Relationship Id="rId4" Type="http://schemas.openxmlformats.org/officeDocument/2006/relationships/image" Target="../media/image9.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6.xml"/><Relationship Id="rId1" Type="http://schemas.openxmlformats.org/officeDocument/2006/relationships/tags" Target="../tags/tag344.xml"/><Relationship Id="rId4" Type="http://schemas.openxmlformats.org/officeDocument/2006/relationships/image" Target="../media/image9.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7.xml"/><Relationship Id="rId1" Type="http://schemas.openxmlformats.org/officeDocument/2006/relationships/tags" Target="../tags/tag345.xml"/><Relationship Id="rId4" Type="http://schemas.openxmlformats.org/officeDocument/2006/relationships/image" Target="../media/image9.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8.xml"/><Relationship Id="rId1" Type="http://schemas.openxmlformats.org/officeDocument/2006/relationships/tags" Target="../tags/tag346.xml"/><Relationship Id="rId4" Type="http://schemas.openxmlformats.org/officeDocument/2006/relationships/image" Target="../media/image9.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9.xml"/><Relationship Id="rId1" Type="http://schemas.openxmlformats.org/officeDocument/2006/relationships/tags" Target="../tags/tag347.xml"/><Relationship Id="rId4" Type="http://schemas.openxmlformats.org/officeDocument/2006/relationships/image" Target="../media/image9.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0.xml"/><Relationship Id="rId1" Type="http://schemas.openxmlformats.org/officeDocument/2006/relationships/tags" Target="../tags/tag348.xml"/><Relationship Id="rId4" Type="http://schemas.openxmlformats.org/officeDocument/2006/relationships/image" Target="../media/image9.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1.xml"/><Relationship Id="rId1" Type="http://schemas.openxmlformats.org/officeDocument/2006/relationships/tags" Target="../tags/tag349.xml"/><Relationship Id="rId4" Type="http://schemas.openxmlformats.org/officeDocument/2006/relationships/image" Target="../media/image9.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2.xml"/><Relationship Id="rId1" Type="http://schemas.openxmlformats.org/officeDocument/2006/relationships/tags" Target="../tags/tag350.xml"/><Relationship Id="rId4" Type="http://schemas.openxmlformats.org/officeDocument/2006/relationships/image" Target="../media/image9.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3.xml"/><Relationship Id="rId1" Type="http://schemas.openxmlformats.org/officeDocument/2006/relationships/tags" Target="../tags/tag351.xml"/><Relationship Id="rId4" Type="http://schemas.openxmlformats.org/officeDocument/2006/relationships/image" Target="../media/image9.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4.xml"/><Relationship Id="rId1" Type="http://schemas.openxmlformats.org/officeDocument/2006/relationships/tags" Target="../tags/tag352.xml"/><Relationship Id="rId4" Type="http://schemas.openxmlformats.org/officeDocument/2006/relationships/image" Target="../media/image9.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5.xml"/><Relationship Id="rId1" Type="http://schemas.openxmlformats.org/officeDocument/2006/relationships/tags" Target="../tags/tag353.xml"/><Relationship Id="rId4" Type="http://schemas.openxmlformats.org/officeDocument/2006/relationships/image" Target="../media/image9.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6.xml"/><Relationship Id="rId1" Type="http://schemas.openxmlformats.org/officeDocument/2006/relationships/tags" Target="../tags/tag354.xml"/><Relationship Id="rId4" Type="http://schemas.openxmlformats.org/officeDocument/2006/relationships/image" Target="../media/image9.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7.xml"/><Relationship Id="rId1" Type="http://schemas.openxmlformats.org/officeDocument/2006/relationships/tags" Target="../tags/tag355.xml"/><Relationship Id="rId4" Type="http://schemas.openxmlformats.org/officeDocument/2006/relationships/image" Target="../media/image9.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0.xml"/><Relationship Id="rId1" Type="http://schemas.openxmlformats.org/officeDocument/2006/relationships/tags" Target="../tags/tag356.xml"/><Relationship Id="rId4" Type="http://schemas.openxmlformats.org/officeDocument/2006/relationships/image" Target="../media/image9.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357.xml"/><Relationship Id="rId5" Type="http://schemas.openxmlformats.org/officeDocument/2006/relationships/image" Target="../media/image19.png"/><Relationship Id="rId4" Type="http://schemas.openxmlformats.org/officeDocument/2006/relationships/image" Target="../media/image9.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35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s/_rels/slide38.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3" Type="http://schemas.openxmlformats.org/officeDocument/2006/relationships/oleObject" Target="../embeddings/oleObject38.bin"/><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3.xml"/><Relationship Id="rId1" Type="http://schemas.openxmlformats.org/officeDocument/2006/relationships/tags" Target="../tags/tag359.xml"/><Relationship Id="rId6" Type="http://schemas.openxmlformats.org/officeDocument/2006/relationships/image" Target="../media/image21.sv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9.emf"/><Relationship Id="rId9" Type="http://schemas.openxmlformats.org/officeDocument/2006/relationships/image" Target="../media/image24.png"/><Relationship Id="rId14" Type="http://schemas.openxmlformats.org/officeDocument/2006/relationships/image" Target="../media/image29.svg"/></Relationships>
</file>

<file path=ppt/slides/_rels/slide39.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oleObject" Target="../embeddings/oleObject39.bin"/><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slideLayout" Target="../slideLayouts/slideLayout3.xml"/><Relationship Id="rId16" Type="http://schemas.openxmlformats.org/officeDocument/2006/relationships/image" Target="../media/image41.svg"/><Relationship Id="rId1" Type="http://schemas.openxmlformats.org/officeDocument/2006/relationships/tags" Target="../tags/tag360.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svg"/><Relationship Id="rId4" Type="http://schemas.openxmlformats.org/officeDocument/2006/relationships/image" Target="../media/image9.emf"/><Relationship Id="rId9" Type="http://schemas.openxmlformats.org/officeDocument/2006/relationships/image" Target="../media/image34.png"/><Relationship Id="rId14" Type="http://schemas.openxmlformats.org/officeDocument/2006/relationships/image" Target="../media/image39.sv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6" Type="http://schemas.openxmlformats.org/officeDocument/2006/relationships/image" Target="../media/image63.svg"/><Relationship Id="rId21" Type="http://schemas.openxmlformats.org/officeDocument/2006/relationships/image" Target="../media/image58.png"/><Relationship Id="rId42" Type="http://schemas.openxmlformats.org/officeDocument/2006/relationships/image" Target="../media/image79.svg"/><Relationship Id="rId47" Type="http://schemas.openxmlformats.org/officeDocument/2006/relationships/image" Target="../media/image84.png"/><Relationship Id="rId63" Type="http://schemas.openxmlformats.org/officeDocument/2006/relationships/image" Target="../media/image100.png"/><Relationship Id="rId68" Type="http://schemas.openxmlformats.org/officeDocument/2006/relationships/image" Target="../media/image105.svg"/><Relationship Id="rId84" Type="http://schemas.openxmlformats.org/officeDocument/2006/relationships/image" Target="../media/image117.svg"/><Relationship Id="rId89" Type="http://schemas.openxmlformats.org/officeDocument/2006/relationships/image" Target="../media/image122.png"/><Relationship Id="rId16" Type="http://schemas.openxmlformats.org/officeDocument/2006/relationships/image" Target="../media/image53.svg"/><Relationship Id="rId11" Type="http://schemas.openxmlformats.org/officeDocument/2006/relationships/image" Target="../media/image48.png"/><Relationship Id="rId32" Type="http://schemas.openxmlformats.org/officeDocument/2006/relationships/image" Target="../media/image69.svg"/><Relationship Id="rId37" Type="http://schemas.openxmlformats.org/officeDocument/2006/relationships/image" Target="../media/image74.png"/><Relationship Id="rId53" Type="http://schemas.openxmlformats.org/officeDocument/2006/relationships/image" Target="../media/image90.png"/><Relationship Id="rId58" Type="http://schemas.openxmlformats.org/officeDocument/2006/relationships/image" Target="../media/image95.svg"/><Relationship Id="rId74" Type="http://schemas.openxmlformats.org/officeDocument/2006/relationships/image" Target="../media/image109.svg"/><Relationship Id="rId79" Type="http://schemas.openxmlformats.org/officeDocument/2006/relationships/image" Target="../media/image114.png"/><Relationship Id="rId102" Type="http://schemas.openxmlformats.org/officeDocument/2006/relationships/image" Target="../media/image135.svg"/><Relationship Id="rId5" Type="http://schemas.openxmlformats.org/officeDocument/2006/relationships/image" Target="../media/image42.png"/><Relationship Id="rId90" Type="http://schemas.openxmlformats.org/officeDocument/2006/relationships/image" Target="../media/image123.svg"/><Relationship Id="rId95" Type="http://schemas.openxmlformats.org/officeDocument/2006/relationships/image" Target="../media/image128.png"/><Relationship Id="rId22" Type="http://schemas.openxmlformats.org/officeDocument/2006/relationships/image" Target="../media/image59.svg"/><Relationship Id="rId27" Type="http://schemas.openxmlformats.org/officeDocument/2006/relationships/image" Target="../media/image64.png"/><Relationship Id="rId43" Type="http://schemas.openxmlformats.org/officeDocument/2006/relationships/image" Target="../media/image80.png"/><Relationship Id="rId48" Type="http://schemas.openxmlformats.org/officeDocument/2006/relationships/image" Target="../media/image85.svg"/><Relationship Id="rId64" Type="http://schemas.openxmlformats.org/officeDocument/2006/relationships/image" Target="../media/image101.svg"/><Relationship Id="rId69" Type="http://schemas.openxmlformats.org/officeDocument/2006/relationships/image" Target="../media/image106.png"/><Relationship Id="rId80" Type="http://schemas.openxmlformats.org/officeDocument/2006/relationships/image" Target="../media/image115.svg"/><Relationship Id="rId85" Type="http://schemas.openxmlformats.org/officeDocument/2006/relationships/image" Target="../media/image118.png"/><Relationship Id="rId12" Type="http://schemas.openxmlformats.org/officeDocument/2006/relationships/image" Target="../media/image49.svg"/><Relationship Id="rId17" Type="http://schemas.openxmlformats.org/officeDocument/2006/relationships/image" Target="../media/image54.png"/><Relationship Id="rId33" Type="http://schemas.openxmlformats.org/officeDocument/2006/relationships/image" Target="../media/image70.png"/><Relationship Id="rId38" Type="http://schemas.openxmlformats.org/officeDocument/2006/relationships/image" Target="../media/image75.svg"/><Relationship Id="rId59" Type="http://schemas.openxmlformats.org/officeDocument/2006/relationships/image" Target="../media/image96.png"/><Relationship Id="rId103" Type="http://schemas.openxmlformats.org/officeDocument/2006/relationships/image" Target="../media/image136.png"/><Relationship Id="rId20" Type="http://schemas.openxmlformats.org/officeDocument/2006/relationships/image" Target="../media/image57.svg"/><Relationship Id="rId41" Type="http://schemas.openxmlformats.org/officeDocument/2006/relationships/image" Target="../media/image78.png"/><Relationship Id="rId54" Type="http://schemas.openxmlformats.org/officeDocument/2006/relationships/image" Target="../media/image91.svg"/><Relationship Id="rId62" Type="http://schemas.openxmlformats.org/officeDocument/2006/relationships/image" Target="../media/image99.svg"/><Relationship Id="rId70" Type="http://schemas.openxmlformats.org/officeDocument/2006/relationships/image" Target="../media/image107.svg"/><Relationship Id="rId75" Type="http://schemas.openxmlformats.org/officeDocument/2006/relationships/image" Target="../media/image110.png"/><Relationship Id="rId83" Type="http://schemas.openxmlformats.org/officeDocument/2006/relationships/image" Target="../media/image116.png"/><Relationship Id="rId88" Type="http://schemas.openxmlformats.org/officeDocument/2006/relationships/image" Target="../media/image121.svg"/><Relationship Id="rId91" Type="http://schemas.openxmlformats.org/officeDocument/2006/relationships/image" Target="../media/image124.png"/><Relationship Id="rId96" Type="http://schemas.openxmlformats.org/officeDocument/2006/relationships/image" Target="../media/image129.svg"/><Relationship Id="rId1" Type="http://schemas.openxmlformats.org/officeDocument/2006/relationships/tags" Target="../tags/tag361.xml"/><Relationship Id="rId6" Type="http://schemas.openxmlformats.org/officeDocument/2006/relationships/image" Target="../media/image43.svg"/><Relationship Id="rId15" Type="http://schemas.openxmlformats.org/officeDocument/2006/relationships/image" Target="../media/image52.png"/><Relationship Id="rId23" Type="http://schemas.openxmlformats.org/officeDocument/2006/relationships/image" Target="../media/image60.png"/><Relationship Id="rId28" Type="http://schemas.openxmlformats.org/officeDocument/2006/relationships/image" Target="../media/image65.svg"/><Relationship Id="rId36" Type="http://schemas.openxmlformats.org/officeDocument/2006/relationships/image" Target="../media/image73.svg"/><Relationship Id="rId49" Type="http://schemas.openxmlformats.org/officeDocument/2006/relationships/image" Target="../media/image86.png"/><Relationship Id="rId57" Type="http://schemas.openxmlformats.org/officeDocument/2006/relationships/image" Target="../media/image94.png"/><Relationship Id="rId106" Type="http://schemas.openxmlformats.org/officeDocument/2006/relationships/image" Target="../media/image139.svg"/><Relationship Id="rId10" Type="http://schemas.openxmlformats.org/officeDocument/2006/relationships/image" Target="../media/image47.svg"/><Relationship Id="rId31" Type="http://schemas.openxmlformats.org/officeDocument/2006/relationships/image" Target="../media/image68.png"/><Relationship Id="rId44" Type="http://schemas.openxmlformats.org/officeDocument/2006/relationships/image" Target="../media/image81.svg"/><Relationship Id="rId52" Type="http://schemas.openxmlformats.org/officeDocument/2006/relationships/image" Target="../media/image89.svg"/><Relationship Id="rId60" Type="http://schemas.openxmlformats.org/officeDocument/2006/relationships/image" Target="../media/image97.svg"/><Relationship Id="rId65" Type="http://schemas.openxmlformats.org/officeDocument/2006/relationships/image" Target="../media/image102.png"/><Relationship Id="rId73" Type="http://schemas.openxmlformats.org/officeDocument/2006/relationships/image" Target="../media/image108.png"/><Relationship Id="rId78" Type="http://schemas.openxmlformats.org/officeDocument/2006/relationships/image" Target="../media/image113.svg"/><Relationship Id="rId81" Type="http://schemas.openxmlformats.org/officeDocument/2006/relationships/image" Target="../media/image10.png"/><Relationship Id="rId86" Type="http://schemas.openxmlformats.org/officeDocument/2006/relationships/image" Target="../media/image119.svg"/><Relationship Id="rId94" Type="http://schemas.openxmlformats.org/officeDocument/2006/relationships/image" Target="../media/image127.svg"/><Relationship Id="rId99" Type="http://schemas.openxmlformats.org/officeDocument/2006/relationships/image" Target="../media/image132.png"/><Relationship Id="rId101" Type="http://schemas.openxmlformats.org/officeDocument/2006/relationships/image" Target="../media/image134.png"/><Relationship Id="rId4" Type="http://schemas.openxmlformats.org/officeDocument/2006/relationships/image" Target="../media/image9.emf"/><Relationship Id="rId9" Type="http://schemas.openxmlformats.org/officeDocument/2006/relationships/image" Target="../media/image46.png"/><Relationship Id="rId13" Type="http://schemas.openxmlformats.org/officeDocument/2006/relationships/image" Target="../media/image50.png"/><Relationship Id="rId18" Type="http://schemas.openxmlformats.org/officeDocument/2006/relationships/image" Target="../media/image55.svg"/><Relationship Id="rId39" Type="http://schemas.openxmlformats.org/officeDocument/2006/relationships/image" Target="../media/image76.png"/><Relationship Id="rId34" Type="http://schemas.openxmlformats.org/officeDocument/2006/relationships/image" Target="../media/image71.svg"/><Relationship Id="rId50" Type="http://schemas.openxmlformats.org/officeDocument/2006/relationships/image" Target="../media/image87.svg"/><Relationship Id="rId55" Type="http://schemas.openxmlformats.org/officeDocument/2006/relationships/image" Target="../media/image92.png"/><Relationship Id="rId76" Type="http://schemas.openxmlformats.org/officeDocument/2006/relationships/image" Target="../media/image111.svg"/><Relationship Id="rId97" Type="http://schemas.openxmlformats.org/officeDocument/2006/relationships/image" Target="../media/image130.png"/><Relationship Id="rId104" Type="http://schemas.openxmlformats.org/officeDocument/2006/relationships/image" Target="../media/image137.svg"/><Relationship Id="rId7" Type="http://schemas.openxmlformats.org/officeDocument/2006/relationships/image" Target="../media/image44.png"/><Relationship Id="rId71" Type="http://schemas.openxmlformats.org/officeDocument/2006/relationships/image" Target="../media/image12.png"/><Relationship Id="rId92" Type="http://schemas.openxmlformats.org/officeDocument/2006/relationships/image" Target="../media/image125.svg"/><Relationship Id="rId2" Type="http://schemas.openxmlformats.org/officeDocument/2006/relationships/slideLayout" Target="../slideLayouts/slideLayout3.xml"/><Relationship Id="rId29" Type="http://schemas.openxmlformats.org/officeDocument/2006/relationships/image" Target="../media/image66.png"/><Relationship Id="rId24" Type="http://schemas.openxmlformats.org/officeDocument/2006/relationships/image" Target="../media/image61.svg"/><Relationship Id="rId40" Type="http://schemas.openxmlformats.org/officeDocument/2006/relationships/image" Target="../media/image77.svg"/><Relationship Id="rId45" Type="http://schemas.openxmlformats.org/officeDocument/2006/relationships/image" Target="../media/image82.png"/><Relationship Id="rId66" Type="http://schemas.openxmlformats.org/officeDocument/2006/relationships/image" Target="../media/image103.svg"/><Relationship Id="rId87" Type="http://schemas.openxmlformats.org/officeDocument/2006/relationships/image" Target="../media/image120.png"/><Relationship Id="rId61" Type="http://schemas.openxmlformats.org/officeDocument/2006/relationships/image" Target="../media/image98.png"/><Relationship Id="rId82" Type="http://schemas.openxmlformats.org/officeDocument/2006/relationships/image" Target="../media/image11.svg"/><Relationship Id="rId19" Type="http://schemas.openxmlformats.org/officeDocument/2006/relationships/image" Target="../media/image56.png"/><Relationship Id="rId14" Type="http://schemas.openxmlformats.org/officeDocument/2006/relationships/image" Target="../media/image51.svg"/><Relationship Id="rId30" Type="http://schemas.openxmlformats.org/officeDocument/2006/relationships/image" Target="../media/image67.svg"/><Relationship Id="rId35" Type="http://schemas.openxmlformats.org/officeDocument/2006/relationships/image" Target="../media/image72.png"/><Relationship Id="rId56" Type="http://schemas.openxmlformats.org/officeDocument/2006/relationships/image" Target="../media/image93.svg"/><Relationship Id="rId77" Type="http://schemas.openxmlformats.org/officeDocument/2006/relationships/image" Target="../media/image112.png"/><Relationship Id="rId100" Type="http://schemas.openxmlformats.org/officeDocument/2006/relationships/image" Target="../media/image133.svg"/><Relationship Id="rId105" Type="http://schemas.openxmlformats.org/officeDocument/2006/relationships/image" Target="../media/image138.png"/><Relationship Id="rId8" Type="http://schemas.openxmlformats.org/officeDocument/2006/relationships/image" Target="../media/image45.svg"/><Relationship Id="rId51" Type="http://schemas.openxmlformats.org/officeDocument/2006/relationships/image" Target="../media/image88.png"/><Relationship Id="rId72" Type="http://schemas.openxmlformats.org/officeDocument/2006/relationships/image" Target="../media/image13.svg"/><Relationship Id="rId93" Type="http://schemas.openxmlformats.org/officeDocument/2006/relationships/image" Target="../media/image126.png"/><Relationship Id="rId98" Type="http://schemas.openxmlformats.org/officeDocument/2006/relationships/image" Target="../media/image131.svg"/><Relationship Id="rId3" Type="http://schemas.openxmlformats.org/officeDocument/2006/relationships/oleObject" Target="../embeddings/oleObject40.bin"/><Relationship Id="rId25" Type="http://schemas.openxmlformats.org/officeDocument/2006/relationships/image" Target="../media/image62.png"/><Relationship Id="rId46" Type="http://schemas.openxmlformats.org/officeDocument/2006/relationships/image" Target="../media/image83.svg"/><Relationship Id="rId67" Type="http://schemas.openxmlformats.org/officeDocument/2006/relationships/image" Target="../media/image104.pn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362.xml"/><Relationship Id="rId4" Type="http://schemas.openxmlformats.org/officeDocument/2006/relationships/image" Target="../media/image9.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363.xml"/><Relationship Id="rId4" Type="http://schemas.openxmlformats.org/officeDocument/2006/relationships/image" Target="../media/image9.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364.xml"/><Relationship Id="rId4" Type="http://schemas.openxmlformats.org/officeDocument/2006/relationships/image" Target="../media/image9.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4.xml"/><Relationship Id="rId1" Type="http://schemas.openxmlformats.org/officeDocument/2006/relationships/tags" Target="../tags/tag365.xml"/><Relationship Id="rId5" Type="http://schemas.openxmlformats.org/officeDocument/2006/relationships/image" Target="../media/image140.png"/><Relationship Id="rId4" Type="http://schemas.openxmlformats.org/officeDocument/2006/relationships/image" Target="../media/image9.emf"/></Relationships>
</file>

<file path=ppt/slides/_rels/slide4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45.bin"/><Relationship Id="rId7" Type="http://schemas.openxmlformats.org/officeDocument/2006/relationships/image" Target="../media/image142.svg"/><Relationship Id="rId2" Type="http://schemas.openxmlformats.org/officeDocument/2006/relationships/slideLayout" Target="../slideLayouts/slideLayout3.xml"/><Relationship Id="rId1" Type="http://schemas.openxmlformats.org/officeDocument/2006/relationships/tags" Target="../tags/tag366.xml"/><Relationship Id="rId6" Type="http://schemas.openxmlformats.org/officeDocument/2006/relationships/image" Target="../media/image141.png"/><Relationship Id="rId5" Type="http://schemas.openxmlformats.org/officeDocument/2006/relationships/chart" Target="../charts/chart9.xml"/><Relationship Id="rId4" Type="http://schemas.openxmlformats.org/officeDocument/2006/relationships/image" Target="../media/image9.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11.xml"/><Relationship Id="rId1" Type="http://schemas.openxmlformats.org/officeDocument/2006/relationships/tags" Target="../tags/tag367.xml"/><Relationship Id="rId4" Type="http://schemas.openxmlformats.org/officeDocument/2006/relationships/image" Target="../media/image9.emf"/></Relationships>
</file>

<file path=ppt/slides/_rels/slide47.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59.svg"/><Relationship Id="rId3" Type="http://schemas.openxmlformats.org/officeDocument/2006/relationships/tags" Target="../tags/tag370.xml"/><Relationship Id="rId7" Type="http://schemas.openxmlformats.org/officeDocument/2006/relationships/image" Target="../media/image9.emf"/><Relationship Id="rId12" Type="http://schemas.openxmlformats.org/officeDocument/2006/relationships/image" Target="../media/image58.png"/><Relationship Id="rId17" Type="http://schemas.openxmlformats.org/officeDocument/2006/relationships/image" Target="../media/image146.svg"/><Relationship Id="rId2" Type="http://schemas.openxmlformats.org/officeDocument/2006/relationships/tags" Target="../tags/tag369.xml"/><Relationship Id="rId16" Type="http://schemas.openxmlformats.org/officeDocument/2006/relationships/image" Target="../media/image84.png"/><Relationship Id="rId1" Type="http://schemas.openxmlformats.org/officeDocument/2006/relationships/tags" Target="../tags/tag368.xml"/><Relationship Id="rId6" Type="http://schemas.openxmlformats.org/officeDocument/2006/relationships/oleObject" Target="../embeddings/oleObject47.bin"/><Relationship Id="rId11" Type="http://schemas.openxmlformats.org/officeDocument/2006/relationships/image" Target="../media/image55.svg"/><Relationship Id="rId5" Type="http://schemas.openxmlformats.org/officeDocument/2006/relationships/slideLayout" Target="../slideLayouts/slideLayout11.xml"/><Relationship Id="rId15" Type="http://schemas.openxmlformats.org/officeDocument/2006/relationships/image" Target="../media/image145.svg"/><Relationship Id="rId10" Type="http://schemas.openxmlformats.org/officeDocument/2006/relationships/image" Target="../media/image54.png"/><Relationship Id="rId4" Type="http://schemas.openxmlformats.org/officeDocument/2006/relationships/tags" Target="../tags/tag371.xml"/><Relationship Id="rId9" Type="http://schemas.openxmlformats.org/officeDocument/2006/relationships/image" Target="../media/image144.svg"/><Relationship Id="rId14" Type="http://schemas.openxmlformats.org/officeDocument/2006/relationships/image" Target="../media/image96.png"/></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1.xml"/><Relationship Id="rId1" Type="http://schemas.openxmlformats.org/officeDocument/2006/relationships/tags" Target="../tags/tag37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9.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1.xml"/><Relationship Id="rId1" Type="http://schemas.openxmlformats.org/officeDocument/2006/relationships/tags" Target="../tags/tag373.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0.bin"/><Relationship Id="rId7" Type="http://schemas.openxmlformats.org/officeDocument/2006/relationships/image" Target="../media/image6.png"/><Relationship Id="rId2" Type="http://schemas.openxmlformats.org/officeDocument/2006/relationships/slideLayout" Target="../slideLayouts/slideLayout11.xml"/><Relationship Id="rId1" Type="http://schemas.openxmlformats.org/officeDocument/2006/relationships/tags" Target="../tags/tag374.xml"/><Relationship Id="rId6" Type="http://schemas.openxmlformats.org/officeDocument/2006/relationships/image" Target="../media/image147.png"/><Relationship Id="rId5" Type="http://schemas.openxmlformats.org/officeDocument/2006/relationships/hyperlink" Target="http://www.hypatos.ai/" TargetMode="External"/><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1.xml"/><Relationship Id="rId1" Type="http://schemas.openxmlformats.org/officeDocument/2006/relationships/tags" Target="../tags/tag9.xml"/><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9.bin"/><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117" Type="http://schemas.openxmlformats.org/officeDocument/2006/relationships/tags" Target="../tags/tag127.xml"/><Relationship Id="rId21" Type="http://schemas.openxmlformats.org/officeDocument/2006/relationships/tags" Target="../tags/tag31.xml"/><Relationship Id="rId42" Type="http://schemas.openxmlformats.org/officeDocument/2006/relationships/tags" Target="../tags/tag52.xml"/><Relationship Id="rId63" Type="http://schemas.openxmlformats.org/officeDocument/2006/relationships/tags" Target="../tags/tag73.xml"/><Relationship Id="rId84" Type="http://schemas.openxmlformats.org/officeDocument/2006/relationships/tags" Target="../tags/tag94.xml"/><Relationship Id="rId138" Type="http://schemas.openxmlformats.org/officeDocument/2006/relationships/tags" Target="../tags/tag148.xml"/><Relationship Id="rId159" Type="http://schemas.openxmlformats.org/officeDocument/2006/relationships/tags" Target="../tags/tag169.xml"/><Relationship Id="rId170" Type="http://schemas.openxmlformats.org/officeDocument/2006/relationships/tags" Target="../tags/tag180.xml"/><Relationship Id="rId191" Type="http://schemas.openxmlformats.org/officeDocument/2006/relationships/tags" Target="../tags/tag201.xml"/><Relationship Id="rId205" Type="http://schemas.openxmlformats.org/officeDocument/2006/relationships/tags" Target="../tags/tag215.xml"/><Relationship Id="rId226" Type="http://schemas.openxmlformats.org/officeDocument/2006/relationships/tags" Target="../tags/tag236.xml"/><Relationship Id="rId107" Type="http://schemas.openxmlformats.org/officeDocument/2006/relationships/tags" Target="../tags/tag117.xml"/><Relationship Id="rId11" Type="http://schemas.openxmlformats.org/officeDocument/2006/relationships/tags" Target="../tags/tag21.xml"/><Relationship Id="rId32" Type="http://schemas.openxmlformats.org/officeDocument/2006/relationships/tags" Target="../tags/tag42.xml"/><Relationship Id="rId53" Type="http://schemas.openxmlformats.org/officeDocument/2006/relationships/tags" Target="../tags/tag63.xml"/><Relationship Id="rId74" Type="http://schemas.openxmlformats.org/officeDocument/2006/relationships/tags" Target="../tags/tag84.xml"/><Relationship Id="rId128" Type="http://schemas.openxmlformats.org/officeDocument/2006/relationships/tags" Target="../tags/tag138.xml"/><Relationship Id="rId149" Type="http://schemas.openxmlformats.org/officeDocument/2006/relationships/tags" Target="../tags/tag159.xml"/><Relationship Id="rId5" Type="http://schemas.openxmlformats.org/officeDocument/2006/relationships/tags" Target="../tags/tag15.xml"/><Relationship Id="rId95" Type="http://schemas.openxmlformats.org/officeDocument/2006/relationships/tags" Target="../tags/tag105.xml"/><Relationship Id="rId160" Type="http://schemas.openxmlformats.org/officeDocument/2006/relationships/tags" Target="../tags/tag170.xml"/><Relationship Id="rId181" Type="http://schemas.openxmlformats.org/officeDocument/2006/relationships/tags" Target="../tags/tag191.xml"/><Relationship Id="rId216" Type="http://schemas.openxmlformats.org/officeDocument/2006/relationships/tags" Target="../tags/tag226.xml"/><Relationship Id="rId22" Type="http://schemas.openxmlformats.org/officeDocument/2006/relationships/tags" Target="../tags/tag32.xml"/><Relationship Id="rId43" Type="http://schemas.openxmlformats.org/officeDocument/2006/relationships/tags" Target="../tags/tag53.xml"/><Relationship Id="rId64" Type="http://schemas.openxmlformats.org/officeDocument/2006/relationships/tags" Target="../tags/tag74.xml"/><Relationship Id="rId118" Type="http://schemas.openxmlformats.org/officeDocument/2006/relationships/tags" Target="../tags/tag128.xml"/><Relationship Id="rId139" Type="http://schemas.openxmlformats.org/officeDocument/2006/relationships/tags" Target="../tags/tag149.xml"/><Relationship Id="rId85" Type="http://schemas.openxmlformats.org/officeDocument/2006/relationships/tags" Target="../tags/tag95.xml"/><Relationship Id="rId150" Type="http://schemas.openxmlformats.org/officeDocument/2006/relationships/tags" Target="../tags/tag160.xml"/><Relationship Id="rId171" Type="http://schemas.openxmlformats.org/officeDocument/2006/relationships/tags" Target="../tags/tag181.xml"/><Relationship Id="rId192" Type="http://schemas.openxmlformats.org/officeDocument/2006/relationships/tags" Target="../tags/tag202.xml"/><Relationship Id="rId206" Type="http://schemas.openxmlformats.org/officeDocument/2006/relationships/tags" Target="../tags/tag216.xml"/><Relationship Id="rId227" Type="http://schemas.openxmlformats.org/officeDocument/2006/relationships/tags" Target="../tags/tag237.xml"/><Relationship Id="rId12" Type="http://schemas.openxmlformats.org/officeDocument/2006/relationships/tags" Target="../tags/tag22.xml"/><Relationship Id="rId33" Type="http://schemas.openxmlformats.org/officeDocument/2006/relationships/tags" Target="../tags/tag43.xml"/><Relationship Id="rId108" Type="http://schemas.openxmlformats.org/officeDocument/2006/relationships/tags" Target="../tags/tag118.xml"/><Relationship Id="rId129" Type="http://schemas.openxmlformats.org/officeDocument/2006/relationships/tags" Target="../tags/tag139.xml"/><Relationship Id="rId54" Type="http://schemas.openxmlformats.org/officeDocument/2006/relationships/tags" Target="../tags/tag64.xml"/><Relationship Id="rId75" Type="http://schemas.openxmlformats.org/officeDocument/2006/relationships/tags" Target="../tags/tag85.xml"/><Relationship Id="rId96" Type="http://schemas.openxmlformats.org/officeDocument/2006/relationships/tags" Target="../tags/tag106.xml"/><Relationship Id="rId140" Type="http://schemas.openxmlformats.org/officeDocument/2006/relationships/tags" Target="../tags/tag150.xml"/><Relationship Id="rId161" Type="http://schemas.openxmlformats.org/officeDocument/2006/relationships/tags" Target="../tags/tag171.xml"/><Relationship Id="rId182" Type="http://schemas.openxmlformats.org/officeDocument/2006/relationships/tags" Target="../tags/tag192.xml"/><Relationship Id="rId217" Type="http://schemas.openxmlformats.org/officeDocument/2006/relationships/tags" Target="../tags/tag227.xml"/><Relationship Id="rId6" Type="http://schemas.openxmlformats.org/officeDocument/2006/relationships/tags" Target="../tags/tag16.xml"/><Relationship Id="rId23" Type="http://schemas.openxmlformats.org/officeDocument/2006/relationships/tags" Target="../tags/tag33.xml"/><Relationship Id="rId119" Type="http://schemas.openxmlformats.org/officeDocument/2006/relationships/tags" Target="../tags/tag129.xml"/><Relationship Id="rId44" Type="http://schemas.openxmlformats.org/officeDocument/2006/relationships/tags" Target="../tags/tag54.xml"/><Relationship Id="rId65" Type="http://schemas.openxmlformats.org/officeDocument/2006/relationships/tags" Target="../tags/tag75.xml"/><Relationship Id="rId86" Type="http://schemas.openxmlformats.org/officeDocument/2006/relationships/tags" Target="../tags/tag96.xml"/><Relationship Id="rId130" Type="http://schemas.openxmlformats.org/officeDocument/2006/relationships/tags" Target="../tags/tag140.xml"/><Relationship Id="rId151" Type="http://schemas.openxmlformats.org/officeDocument/2006/relationships/tags" Target="../tags/tag161.xml"/><Relationship Id="rId172" Type="http://schemas.openxmlformats.org/officeDocument/2006/relationships/tags" Target="../tags/tag182.xml"/><Relationship Id="rId193" Type="http://schemas.openxmlformats.org/officeDocument/2006/relationships/tags" Target="../tags/tag203.xml"/><Relationship Id="rId207" Type="http://schemas.openxmlformats.org/officeDocument/2006/relationships/tags" Target="../tags/tag217.xml"/><Relationship Id="rId228" Type="http://schemas.openxmlformats.org/officeDocument/2006/relationships/tags" Target="../tags/tag238.xml"/><Relationship Id="rId13" Type="http://schemas.openxmlformats.org/officeDocument/2006/relationships/tags" Target="../tags/tag23.xml"/><Relationship Id="rId109" Type="http://schemas.openxmlformats.org/officeDocument/2006/relationships/tags" Target="../tags/tag119.xml"/><Relationship Id="rId34" Type="http://schemas.openxmlformats.org/officeDocument/2006/relationships/tags" Target="../tags/tag44.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20" Type="http://schemas.openxmlformats.org/officeDocument/2006/relationships/tags" Target="../tags/tag130.xml"/><Relationship Id="rId141" Type="http://schemas.openxmlformats.org/officeDocument/2006/relationships/tags" Target="../tags/tag151.xml"/><Relationship Id="rId7" Type="http://schemas.openxmlformats.org/officeDocument/2006/relationships/tags" Target="../tags/tag17.xml"/><Relationship Id="rId162" Type="http://schemas.openxmlformats.org/officeDocument/2006/relationships/tags" Target="../tags/tag172.xml"/><Relationship Id="rId183" Type="http://schemas.openxmlformats.org/officeDocument/2006/relationships/tags" Target="../tags/tag193.xml"/><Relationship Id="rId218" Type="http://schemas.openxmlformats.org/officeDocument/2006/relationships/tags" Target="../tags/tag228.xml"/><Relationship Id="rId24" Type="http://schemas.openxmlformats.org/officeDocument/2006/relationships/tags" Target="../tags/tag34.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31" Type="http://schemas.openxmlformats.org/officeDocument/2006/relationships/tags" Target="../tags/tag141.xml"/><Relationship Id="rId152" Type="http://schemas.openxmlformats.org/officeDocument/2006/relationships/tags" Target="../tags/tag162.xml"/><Relationship Id="rId173" Type="http://schemas.openxmlformats.org/officeDocument/2006/relationships/tags" Target="../tags/tag183.xml"/><Relationship Id="rId194" Type="http://schemas.openxmlformats.org/officeDocument/2006/relationships/tags" Target="../tags/tag204.xml"/><Relationship Id="rId208" Type="http://schemas.openxmlformats.org/officeDocument/2006/relationships/tags" Target="../tags/tag218.xml"/><Relationship Id="rId229" Type="http://schemas.openxmlformats.org/officeDocument/2006/relationships/tags" Target="../tags/tag239.xml"/><Relationship Id="rId14" Type="http://schemas.openxmlformats.org/officeDocument/2006/relationships/tags" Target="../tags/tag24.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8" Type="http://schemas.openxmlformats.org/officeDocument/2006/relationships/tags" Target="../tags/tag18.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163" Type="http://schemas.openxmlformats.org/officeDocument/2006/relationships/tags" Target="../tags/tag173.xml"/><Relationship Id="rId184" Type="http://schemas.openxmlformats.org/officeDocument/2006/relationships/tags" Target="../tags/tag194.xml"/><Relationship Id="rId219" Type="http://schemas.openxmlformats.org/officeDocument/2006/relationships/tags" Target="../tags/tag229.xml"/><Relationship Id="rId230" Type="http://schemas.openxmlformats.org/officeDocument/2006/relationships/tags" Target="../tags/tag240.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88" Type="http://schemas.openxmlformats.org/officeDocument/2006/relationships/tags" Target="../tags/tag98.xml"/><Relationship Id="rId111" Type="http://schemas.openxmlformats.org/officeDocument/2006/relationships/tags" Target="../tags/tag121.xml"/><Relationship Id="rId132" Type="http://schemas.openxmlformats.org/officeDocument/2006/relationships/tags" Target="../tags/tag142.xml"/><Relationship Id="rId153" Type="http://schemas.openxmlformats.org/officeDocument/2006/relationships/tags" Target="../tags/tag163.xml"/><Relationship Id="rId174" Type="http://schemas.openxmlformats.org/officeDocument/2006/relationships/tags" Target="../tags/tag184.xml"/><Relationship Id="rId179" Type="http://schemas.openxmlformats.org/officeDocument/2006/relationships/tags" Target="../tags/tag189.xml"/><Relationship Id="rId195" Type="http://schemas.openxmlformats.org/officeDocument/2006/relationships/tags" Target="../tags/tag205.xml"/><Relationship Id="rId209" Type="http://schemas.openxmlformats.org/officeDocument/2006/relationships/tags" Target="../tags/tag219.xml"/><Relationship Id="rId190" Type="http://schemas.openxmlformats.org/officeDocument/2006/relationships/tags" Target="../tags/tag200.xml"/><Relationship Id="rId204" Type="http://schemas.openxmlformats.org/officeDocument/2006/relationships/tags" Target="../tags/tag214.xml"/><Relationship Id="rId220" Type="http://schemas.openxmlformats.org/officeDocument/2006/relationships/tags" Target="../tags/tag230.xml"/><Relationship Id="rId225" Type="http://schemas.openxmlformats.org/officeDocument/2006/relationships/tags" Target="../tags/tag235.xml"/><Relationship Id="rId15" Type="http://schemas.openxmlformats.org/officeDocument/2006/relationships/tags" Target="../tags/tag25.xml"/><Relationship Id="rId36" Type="http://schemas.openxmlformats.org/officeDocument/2006/relationships/tags" Target="../tags/tag46.xml"/><Relationship Id="rId57" Type="http://schemas.openxmlformats.org/officeDocument/2006/relationships/tags" Target="../tags/tag67.xml"/><Relationship Id="rId106" Type="http://schemas.openxmlformats.org/officeDocument/2006/relationships/tags" Target="../tags/tag116.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52" Type="http://schemas.openxmlformats.org/officeDocument/2006/relationships/tags" Target="../tags/tag62.xml"/><Relationship Id="rId73" Type="http://schemas.openxmlformats.org/officeDocument/2006/relationships/tags" Target="../tags/tag83.xml"/><Relationship Id="rId78" Type="http://schemas.openxmlformats.org/officeDocument/2006/relationships/tags" Target="../tags/tag88.xml"/><Relationship Id="rId94" Type="http://schemas.openxmlformats.org/officeDocument/2006/relationships/tags" Target="../tags/tag104.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43" Type="http://schemas.openxmlformats.org/officeDocument/2006/relationships/tags" Target="../tags/tag153.xml"/><Relationship Id="rId148" Type="http://schemas.openxmlformats.org/officeDocument/2006/relationships/tags" Target="../tags/tag158.xml"/><Relationship Id="rId164" Type="http://schemas.openxmlformats.org/officeDocument/2006/relationships/tags" Target="../tags/tag174.xml"/><Relationship Id="rId169" Type="http://schemas.openxmlformats.org/officeDocument/2006/relationships/tags" Target="../tags/tag179.xml"/><Relationship Id="rId185" Type="http://schemas.openxmlformats.org/officeDocument/2006/relationships/tags" Target="../tags/tag195.xml"/><Relationship Id="rId4" Type="http://schemas.openxmlformats.org/officeDocument/2006/relationships/tags" Target="../tags/tag14.xml"/><Relationship Id="rId9" Type="http://schemas.openxmlformats.org/officeDocument/2006/relationships/tags" Target="../tags/tag19.xml"/><Relationship Id="rId180" Type="http://schemas.openxmlformats.org/officeDocument/2006/relationships/tags" Target="../tags/tag190.xml"/><Relationship Id="rId210" Type="http://schemas.openxmlformats.org/officeDocument/2006/relationships/tags" Target="../tags/tag220.xml"/><Relationship Id="rId215" Type="http://schemas.openxmlformats.org/officeDocument/2006/relationships/tags" Target="../tags/tag225.xml"/><Relationship Id="rId26" Type="http://schemas.openxmlformats.org/officeDocument/2006/relationships/tags" Target="../tags/tag36.xml"/><Relationship Id="rId231" Type="http://schemas.openxmlformats.org/officeDocument/2006/relationships/tags" Target="../tags/tag241.xml"/><Relationship Id="rId47" Type="http://schemas.openxmlformats.org/officeDocument/2006/relationships/tags" Target="../tags/tag57.xml"/><Relationship Id="rId68" Type="http://schemas.openxmlformats.org/officeDocument/2006/relationships/tags" Target="../tags/tag78.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54" Type="http://schemas.openxmlformats.org/officeDocument/2006/relationships/tags" Target="../tags/tag164.xml"/><Relationship Id="rId175" Type="http://schemas.openxmlformats.org/officeDocument/2006/relationships/tags" Target="../tags/tag185.xml"/><Relationship Id="rId196" Type="http://schemas.openxmlformats.org/officeDocument/2006/relationships/tags" Target="../tags/tag206.xml"/><Relationship Id="rId200" Type="http://schemas.openxmlformats.org/officeDocument/2006/relationships/tags" Target="../tags/tag210.xml"/><Relationship Id="rId16" Type="http://schemas.openxmlformats.org/officeDocument/2006/relationships/tags" Target="../tags/tag26.xml"/><Relationship Id="rId221" Type="http://schemas.openxmlformats.org/officeDocument/2006/relationships/tags" Target="../tags/tag231.xml"/><Relationship Id="rId37" Type="http://schemas.openxmlformats.org/officeDocument/2006/relationships/tags" Target="../tags/tag47.xml"/><Relationship Id="rId58" Type="http://schemas.openxmlformats.org/officeDocument/2006/relationships/tags" Target="../tags/tag68.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44" Type="http://schemas.openxmlformats.org/officeDocument/2006/relationships/tags" Target="../tags/tag154.xml"/><Relationship Id="rId90" Type="http://schemas.openxmlformats.org/officeDocument/2006/relationships/tags" Target="../tags/tag100.xml"/><Relationship Id="rId165" Type="http://schemas.openxmlformats.org/officeDocument/2006/relationships/tags" Target="../tags/tag175.xml"/><Relationship Id="rId186" Type="http://schemas.openxmlformats.org/officeDocument/2006/relationships/tags" Target="../tags/tag196.xml"/><Relationship Id="rId211" Type="http://schemas.openxmlformats.org/officeDocument/2006/relationships/tags" Target="../tags/tag221.xml"/><Relationship Id="rId232" Type="http://schemas.openxmlformats.org/officeDocument/2006/relationships/slideLayout" Target="../slideLayouts/slideLayout4.xml"/><Relationship Id="rId27" Type="http://schemas.openxmlformats.org/officeDocument/2006/relationships/tags" Target="../tags/tag37.xml"/><Relationship Id="rId48" Type="http://schemas.openxmlformats.org/officeDocument/2006/relationships/tags" Target="../tags/tag58.xml"/><Relationship Id="rId69" Type="http://schemas.openxmlformats.org/officeDocument/2006/relationships/tags" Target="../tags/tag79.xml"/><Relationship Id="rId113" Type="http://schemas.openxmlformats.org/officeDocument/2006/relationships/tags" Target="../tags/tag123.xml"/><Relationship Id="rId134" Type="http://schemas.openxmlformats.org/officeDocument/2006/relationships/tags" Target="../tags/tag144.xml"/><Relationship Id="rId80" Type="http://schemas.openxmlformats.org/officeDocument/2006/relationships/tags" Target="../tags/tag90.xml"/><Relationship Id="rId155" Type="http://schemas.openxmlformats.org/officeDocument/2006/relationships/tags" Target="../tags/tag165.xml"/><Relationship Id="rId176" Type="http://schemas.openxmlformats.org/officeDocument/2006/relationships/tags" Target="../tags/tag186.xml"/><Relationship Id="rId197" Type="http://schemas.openxmlformats.org/officeDocument/2006/relationships/tags" Target="../tags/tag207.xml"/><Relationship Id="rId201" Type="http://schemas.openxmlformats.org/officeDocument/2006/relationships/tags" Target="../tags/tag211.xml"/><Relationship Id="rId222" Type="http://schemas.openxmlformats.org/officeDocument/2006/relationships/tags" Target="../tags/tag232.xml"/><Relationship Id="rId17" Type="http://schemas.openxmlformats.org/officeDocument/2006/relationships/tags" Target="../tags/tag27.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24" Type="http://schemas.openxmlformats.org/officeDocument/2006/relationships/tags" Target="../tags/tag134.xml"/><Relationship Id="rId70" Type="http://schemas.openxmlformats.org/officeDocument/2006/relationships/tags" Target="../tags/tag80.xml"/><Relationship Id="rId91" Type="http://schemas.openxmlformats.org/officeDocument/2006/relationships/tags" Target="../tags/tag101.xml"/><Relationship Id="rId145" Type="http://schemas.openxmlformats.org/officeDocument/2006/relationships/tags" Target="../tags/tag155.xml"/><Relationship Id="rId166" Type="http://schemas.openxmlformats.org/officeDocument/2006/relationships/tags" Target="../tags/tag176.xml"/><Relationship Id="rId187" Type="http://schemas.openxmlformats.org/officeDocument/2006/relationships/tags" Target="../tags/tag197.xml"/><Relationship Id="rId1" Type="http://schemas.openxmlformats.org/officeDocument/2006/relationships/tags" Target="../tags/tag11.xml"/><Relationship Id="rId212" Type="http://schemas.openxmlformats.org/officeDocument/2006/relationships/tags" Target="../tags/tag222.xml"/><Relationship Id="rId233" Type="http://schemas.openxmlformats.org/officeDocument/2006/relationships/notesSlide" Target="../notesSlides/notesSlide5.xml"/><Relationship Id="rId28" Type="http://schemas.openxmlformats.org/officeDocument/2006/relationships/tags" Target="../tags/tag38.xml"/><Relationship Id="rId49" Type="http://schemas.openxmlformats.org/officeDocument/2006/relationships/tags" Target="../tags/tag59.xml"/><Relationship Id="rId114" Type="http://schemas.openxmlformats.org/officeDocument/2006/relationships/tags" Target="../tags/tag124.xml"/><Relationship Id="rId60" Type="http://schemas.openxmlformats.org/officeDocument/2006/relationships/tags" Target="../tags/tag70.xml"/><Relationship Id="rId81" Type="http://schemas.openxmlformats.org/officeDocument/2006/relationships/tags" Target="../tags/tag91.xml"/><Relationship Id="rId135" Type="http://schemas.openxmlformats.org/officeDocument/2006/relationships/tags" Target="../tags/tag145.xml"/><Relationship Id="rId156" Type="http://schemas.openxmlformats.org/officeDocument/2006/relationships/tags" Target="../tags/tag166.xml"/><Relationship Id="rId177" Type="http://schemas.openxmlformats.org/officeDocument/2006/relationships/tags" Target="../tags/tag187.xml"/><Relationship Id="rId198" Type="http://schemas.openxmlformats.org/officeDocument/2006/relationships/tags" Target="../tags/tag208.xml"/><Relationship Id="rId202" Type="http://schemas.openxmlformats.org/officeDocument/2006/relationships/tags" Target="../tags/tag212.xml"/><Relationship Id="rId223" Type="http://schemas.openxmlformats.org/officeDocument/2006/relationships/tags" Target="../tags/tag233.xml"/><Relationship Id="rId18" Type="http://schemas.openxmlformats.org/officeDocument/2006/relationships/tags" Target="../tags/tag28.xml"/><Relationship Id="rId39" Type="http://schemas.openxmlformats.org/officeDocument/2006/relationships/tags" Target="../tags/tag49.xml"/><Relationship Id="rId50" Type="http://schemas.openxmlformats.org/officeDocument/2006/relationships/tags" Target="../tags/tag60.xml"/><Relationship Id="rId104" Type="http://schemas.openxmlformats.org/officeDocument/2006/relationships/tags" Target="../tags/tag114.xml"/><Relationship Id="rId125" Type="http://schemas.openxmlformats.org/officeDocument/2006/relationships/tags" Target="../tags/tag135.xml"/><Relationship Id="rId146" Type="http://schemas.openxmlformats.org/officeDocument/2006/relationships/tags" Target="../tags/tag156.xml"/><Relationship Id="rId167" Type="http://schemas.openxmlformats.org/officeDocument/2006/relationships/tags" Target="../tags/tag177.xml"/><Relationship Id="rId188" Type="http://schemas.openxmlformats.org/officeDocument/2006/relationships/tags" Target="../tags/tag198.xml"/><Relationship Id="rId71" Type="http://schemas.openxmlformats.org/officeDocument/2006/relationships/tags" Target="../tags/tag81.xml"/><Relationship Id="rId92" Type="http://schemas.openxmlformats.org/officeDocument/2006/relationships/tags" Target="../tags/tag102.xml"/><Relationship Id="rId213" Type="http://schemas.openxmlformats.org/officeDocument/2006/relationships/tags" Target="../tags/tag223.xml"/><Relationship Id="rId234" Type="http://schemas.openxmlformats.org/officeDocument/2006/relationships/oleObject" Target="../embeddings/oleObject10.bin"/><Relationship Id="rId2" Type="http://schemas.openxmlformats.org/officeDocument/2006/relationships/tags" Target="../tags/tag12.xml"/><Relationship Id="rId29" Type="http://schemas.openxmlformats.org/officeDocument/2006/relationships/tags" Target="../tags/tag39.xml"/><Relationship Id="rId40" Type="http://schemas.openxmlformats.org/officeDocument/2006/relationships/tags" Target="../tags/tag50.xml"/><Relationship Id="rId115" Type="http://schemas.openxmlformats.org/officeDocument/2006/relationships/tags" Target="../tags/tag125.xml"/><Relationship Id="rId136" Type="http://schemas.openxmlformats.org/officeDocument/2006/relationships/tags" Target="../tags/tag146.xml"/><Relationship Id="rId157" Type="http://schemas.openxmlformats.org/officeDocument/2006/relationships/tags" Target="../tags/tag167.xml"/><Relationship Id="rId178" Type="http://schemas.openxmlformats.org/officeDocument/2006/relationships/tags" Target="../tags/tag188.xml"/><Relationship Id="rId61" Type="http://schemas.openxmlformats.org/officeDocument/2006/relationships/tags" Target="../tags/tag71.xml"/><Relationship Id="rId82" Type="http://schemas.openxmlformats.org/officeDocument/2006/relationships/tags" Target="../tags/tag92.xml"/><Relationship Id="rId199" Type="http://schemas.openxmlformats.org/officeDocument/2006/relationships/tags" Target="../tags/tag209.xml"/><Relationship Id="rId203" Type="http://schemas.openxmlformats.org/officeDocument/2006/relationships/tags" Target="../tags/tag213.xml"/><Relationship Id="rId19" Type="http://schemas.openxmlformats.org/officeDocument/2006/relationships/tags" Target="../tags/tag29.xml"/><Relationship Id="rId224" Type="http://schemas.openxmlformats.org/officeDocument/2006/relationships/tags" Target="../tags/tag234.xml"/><Relationship Id="rId30" Type="http://schemas.openxmlformats.org/officeDocument/2006/relationships/tags" Target="../tags/tag4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168" Type="http://schemas.openxmlformats.org/officeDocument/2006/relationships/tags" Target="../tags/tag17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189" Type="http://schemas.openxmlformats.org/officeDocument/2006/relationships/tags" Target="../tags/tag199.xml"/><Relationship Id="rId3" Type="http://schemas.openxmlformats.org/officeDocument/2006/relationships/tags" Target="../tags/tag13.xml"/><Relationship Id="rId214" Type="http://schemas.openxmlformats.org/officeDocument/2006/relationships/tags" Target="../tags/tag224.xml"/><Relationship Id="rId235" Type="http://schemas.openxmlformats.org/officeDocument/2006/relationships/image" Target="../media/image9.emf"/><Relationship Id="rId116" Type="http://schemas.openxmlformats.org/officeDocument/2006/relationships/tags" Target="../tags/tag126.xml"/><Relationship Id="rId137" Type="http://schemas.openxmlformats.org/officeDocument/2006/relationships/tags" Target="../tags/tag147.xml"/><Relationship Id="rId158" Type="http://schemas.openxmlformats.org/officeDocument/2006/relationships/tags" Target="../tags/tag1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EBF0E9-8189-29F3-C5F1-F842D5DFCEFF}"/>
              </a:ext>
            </a:extLst>
          </p:cNvPr>
          <p:cNvGraphicFramePr>
            <a:graphicFrameLocks noChangeAspect="1"/>
          </p:cNvGraphicFramePr>
          <p:nvPr>
            <p:custDataLst>
              <p:tags r:id="rId1"/>
            </p:custDataLst>
            <p:extLst>
              <p:ext uri="{D42A27DB-BD31-4B8C-83A1-F6EECF244321}">
                <p14:modId xmlns:p14="http://schemas.microsoft.com/office/powerpoint/2010/main" val="2958690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5" name="Object 4" hidden="1">
                        <a:extLst>
                          <a:ext uri="{FF2B5EF4-FFF2-40B4-BE49-F238E27FC236}">
                            <a16:creationId xmlns:a16="http://schemas.microsoft.com/office/drawing/2014/main" id="{84EBF0E9-8189-29F3-C5F1-F842D5DFCE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0D521E6-A9D0-E5E4-1B64-6F4F417DE210}"/>
              </a:ext>
            </a:extLst>
          </p:cNvPr>
          <p:cNvSpPr>
            <a:spLocks noGrp="1"/>
          </p:cNvSpPr>
          <p:nvPr>
            <p:ph type="ctrTitle"/>
          </p:nvPr>
        </p:nvSpPr>
        <p:spPr/>
        <p:txBody>
          <a:bodyPr vert="horz"/>
          <a:lstStyle/>
          <a:p>
            <a:r>
              <a:rPr lang="en-US"/>
              <a:t>Digital Invoice Capture</a:t>
            </a:r>
          </a:p>
        </p:txBody>
      </p:sp>
      <p:sp>
        <p:nvSpPr>
          <p:cNvPr id="3" name="Alcím 2">
            <a:extLst>
              <a:ext uri="{FF2B5EF4-FFF2-40B4-BE49-F238E27FC236}">
                <a16:creationId xmlns:a16="http://schemas.microsoft.com/office/drawing/2014/main" id="{FCCB28E9-57C2-6F42-8FC3-2BC3B58EA961}"/>
              </a:ext>
            </a:extLst>
          </p:cNvPr>
          <p:cNvSpPr>
            <a:spLocks noGrp="1"/>
          </p:cNvSpPr>
          <p:nvPr>
            <p:ph type="subTitle" idx="1"/>
          </p:nvPr>
        </p:nvSpPr>
        <p:spPr>
          <a:xfrm>
            <a:off x="415378" y="3691246"/>
            <a:ext cx="5680622" cy="402546"/>
          </a:xfrm>
        </p:spPr>
        <p:txBody>
          <a:bodyPr vert="horz" lIns="0" tIns="45720" rIns="91440" bIns="45720" rtlCol="0" anchor="t">
            <a:spAutoFit/>
          </a:bodyPr>
          <a:lstStyle/>
          <a:p>
            <a:r>
              <a:rPr lang="en-US" dirty="0">
                <a:latin typeface="Open Sauce One"/>
              </a:rPr>
              <a:t>Weekly Report CW51</a:t>
            </a:r>
            <a:endParaRPr lang="en-US" dirty="0"/>
          </a:p>
        </p:txBody>
      </p:sp>
      <p:sp>
        <p:nvSpPr>
          <p:cNvPr id="4" name="Szöveg helye 3">
            <a:extLst>
              <a:ext uri="{FF2B5EF4-FFF2-40B4-BE49-F238E27FC236}">
                <a16:creationId xmlns:a16="http://schemas.microsoft.com/office/drawing/2014/main" id="{181436A4-2142-D060-55E8-64356F7A9DDF}"/>
              </a:ext>
            </a:extLst>
          </p:cNvPr>
          <p:cNvSpPr>
            <a:spLocks noGrp="1"/>
          </p:cNvSpPr>
          <p:nvPr>
            <p:ph type="body" sz="quarter" idx="10"/>
          </p:nvPr>
        </p:nvSpPr>
        <p:spPr>
          <a:xfrm>
            <a:off x="415378" y="5700254"/>
            <a:ext cx="5688012" cy="333617"/>
          </a:xfrm>
        </p:spPr>
        <p:txBody>
          <a:bodyPr/>
          <a:lstStyle/>
          <a:p>
            <a:r>
              <a:rPr lang="en-US"/>
              <a:t>December, 2023</a:t>
            </a:r>
          </a:p>
        </p:txBody>
      </p:sp>
      <p:sp>
        <p:nvSpPr>
          <p:cNvPr id="8" name="Ellipszis 7">
            <a:extLst>
              <a:ext uri="{FF2B5EF4-FFF2-40B4-BE49-F238E27FC236}">
                <a16:creationId xmlns:a16="http://schemas.microsoft.com/office/drawing/2014/main" id="{A597AA50-9A38-B332-11D6-5975A5AC6E06}"/>
              </a:ext>
            </a:extLst>
          </p:cNvPr>
          <p:cNvSpPr/>
          <p:nvPr/>
        </p:nvSpPr>
        <p:spPr>
          <a:xfrm>
            <a:off x="6736270" y="1165768"/>
            <a:ext cx="4526462" cy="452646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pic>
        <p:nvPicPr>
          <p:cNvPr id="9" name="Kép 8">
            <a:extLst>
              <a:ext uri="{FF2B5EF4-FFF2-40B4-BE49-F238E27FC236}">
                <a16:creationId xmlns:a16="http://schemas.microsoft.com/office/drawing/2014/main" id="{3A979045-FE30-29EC-0788-EFE1256D4B7D}"/>
              </a:ext>
            </a:extLst>
          </p:cNvPr>
          <p:cNvPicPr>
            <a:picLocks noChangeAspect="1"/>
          </p:cNvPicPr>
          <p:nvPr/>
        </p:nvPicPr>
        <p:blipFill>
          <a:blip r:embed="rId6"/>
          <a:stretch>
            <a:fillRect/>
          </a:stretch>
        </p:blipFill>
        <p:spPr>
          <a:xfrm>
            <a:off x="6262783" y="508174"/>
            <a:ext cx="6338096" cy="5914928"/>
          </a:xfrm>
          <a:prstGeom prst="rect">
            <a:avLst/>
          </a:prstGeom>
        </p:spPr>
      </p:pic>
      <p:pic>
        <p:nvPicPr>
          <p:cNvPr id="11" name="Picture 4">
            <a:extLst>
              <a:ext uri="{FF2B5EF4-FFF2-40B4-BE49-F238E27FC236}">
                <a16:creationId xmlns:a16="http://schemas.microsoft.com/office/drawing/2014/main" id="{3D4270B9-3081-C870-C8FE-6DACCD15D2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4561" r="3802" b="42448"/>
          <a:stretch/>
        </p:blipFill>
        <p:spPr bwMode="auto">
          <a:xfrm>
            <a:off x="2337026" y="313187"/>
            <a:ext cx="3458318" cy="46700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EC951480-2645-0CDF-C744-B93DA9EE6D1C}"/>
              </a:ext>
              <a:ext uri="{C183D7F6-B498-43B3-948B-1728B52AA6E4}">
                <adec:decorative xmlns:adec="http://schemas.microsoft.com/office/drawing/2017/decorative" val="1"/>
              </a:ext>
            </a:extLst>
          </p:cNvPr>
          <p:cNvPicPr>
            <a:picLocks noChangeAspect="1"/>
          </p:cNvPicPr>
          <p:nvPr/>
        </p:nvPicPr>
        <p:blipFill>
          <a:blip r:embed="rId8">
            <a:alphaModFix amt="70000"/>
            <a:extLst>
              <a:ext uri="{BEBA8EAE-BF5A-486C-A8C5-ECC9F3942E4B}">
                <a14:imgProps xmlns:a14="http://schemas.microsoft.com/office/drawing/2010/main">
                  <a14:imgLayer r:embed="rId9">
                    <a14:imgEffect>
                      <a14:backgroundRemoval t="2333" b="96925" l="3808" r="99800">
                        <a14:foregroundMark x1="9018" y1="21845" x2="2505" y2="36903"/>
                        <a14:foregroundMark x1="2505" y1="36903" x2="3808" y2="51962"/>
                        <a14:foregroundMark x1="3808" y1="51962" x2="11222" y2="51962"/>
                        <a14:foregroundMark x1="18938" y1="9438" x2="51102" y2="2439"/>
                        <a14:foregroundMark x1="51102" y1="2439" x2="64830" y2="10604"/>
                        <a14:foregroundMark x1="64830" y1="10604" x2="61723" y2="9438"/>
                        <a14:foregroundMark x1="22645" y1="7635" x2="48597" y2="2439"/>
                        <a14:foregroundMark x1="48597" y1="2439" x2="60822" y2="7423"/>
                        <a14:foregroundMark x1="86974" y1="82715" x2="90681" y2="98409"/>
                        <a14:foregroundMark x1="90681" y1="98409" x2="95591" y2="84942"/>
                        <a14:foregroundMark x1="95591" y1="84942" x2="91583" y2="82927"/>
                        <a14:foregroundMark x1="85471" y1="84517" x2="94489" y2="85684"/>
                        <a14:foregroundMark x1="86573" y1="84517" x2="84770" y2="98303"/>
                        <a14:foregroundMark x1="84770" y1="98303" x2="99299" y2="93425"/>
                        <a14:foregroundMark x1="99299" y1="93425" x2="92084" y2="83881"/>
                        <a14:foregroundMark x1="85070" y1="97137" x2="99699" y2="94274"/>
                        <a14:foregroundMark x1="99699" y1="94274" x2="99800" y2="94062"/>
                        <a14:foregroundMark x1="83667" y1="95758" x2="97194" y2="96288"/>
                        <a14:foregroundMark x1="97194" y1="96288" x2="99800" y2="94380"/>
                        <a14:foregroundMark x1="85471" y1="84093" x2="84569" y2="96925"/>
                      </a14:backgroundRemoval>
                    </a14:imgEffect>
                  </a14:imgLayer>
                </a14:imgProps>
              </a:ext>
            </a:extLst>
          </a:blip>
          <a:stretch>
            <a:fillRect/>
          </a:stretch>
        </p:blipFill>
        <p:spPr>
          <a:xfrm rot="528840">
            <a:off x="10482836" y="1018565"/>
            <a:ext cx="1706774" cy="1612714"/>
          </a:xfrm>
          <a:prstGeom prst="rect">
            <a:avLst/>
          </a:prstGeom>
        </p:spPr>
      </p:pic>
    </p:spTree>
    <p:extLst>
      <p:ext uri="{BB962C8B-B14F-4D97-AF65-F5344CB8AC3E}">
        <p14:creationId xmlns:p14="http://schemas.microsoft.com/office/powerpoint/2010/main" val="3964595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FBF1CE-45BE-A081-94AE-B463F74DD512}"/>
              </a:ext>
            </a:extLst>
          </p:cNvPr>
          <p:cNvGraphicFramePr>
            <a:graphicFrameLocks noChangeAspect="1"/>
          </p:cNvGraphicFramePr>
          <p:nvPr>
            <p:custDataLst>
              <p:tags r:id="rId1"/>
            </p:custDataLst>
            <p:extLst>
              <p:ext uri="{D42A27DB-BD31-4B8C-83A1-F6EECF244321}">
                <p14:modId xmlns:p14="http://schemas.microsoft.com/office/powerpoint/2010/main" val="2043461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DFBF1CE-45BE-A081-94AE-B463F74DD5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98FD1992-DD91-82E4-B0D8-5890E91D49A0}"/>
              </a:ext>
            </a:extLst>
          </p:cNvPr>
          <p:cNvSpPr>
            <a:spLocks noGrp="1"/>
          </p:cNvSpPr>
          <p:nvPr>
            <p:ph type="title"/>
          </p:nvPr>
        </p:nvSpPr>
        <p:spPr>
          <a:xfrm>
            <a:off x="407988" y="404813"/>
            <a:ext cx="11341100" cy="584775"/>
          </a:xfrm>
        </p:spPr>
        <p:txBody>
          <a:bodyPr vert="horz"/>
          <a:lstStyle/>
          <a:p>
            <a:r>
              <a:rPr lang="en-US"/>
              <a:t>Agenda</a:t>
            </a:r>
          </a:p>
        </p:txBody>
      </p:sp>
      <p:sp>
        <p:nvSpPr>
          <p:cNvPr id="4" name="Dia számának helye 3">
            <a:extLst>
              <a:ext uri="{FF2B5EF4-FFF2-40B4-BE49-F238E27FC236}">
                <a16:creationId xmlns:a16="http://schemas.microsoft.com/office/drawing/2014/main" id="{AFE8720D-AC6F-E516-5D61-AD1509AEE81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2D668-955E-AB45-9B4E-D4D3490B1261}" type="slidenum">
              <a:rPr kumimoji="0" lang="en-US" sz="1000" b="0" i="0" u="none" strike="noStrike" kern="1200" cap="none" spc="0" normalizeH="0" baseline="0" noProof="0" smtClean="0">
                <a:ln>
                  <a:noFill/>
                </a:ln>
                <a:solidFill>
                  <a:srgbClr val="FFFFFF">
                    <a:lumMod val="50000"/>
                  </a:srgbClr>
                </a:solidFill>
                <a:effectLst/>
                <a:uLnTx/>
                <a:uFillTx/>
                <a:latin typeface="Open Sauce On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FFFFFF">
                  <a:lumMod val="50000"/>
                </a:srgbClr>
              </a:solidFill>
              <a:effectLst/>
              <a:uLnTx/>
              <a:uFillTx/>
              <a:latin typeface="Open Sauce One" pitchFamily="2" charset="0"/>
              <a:ea typeface="+mn-ea"/>
              <a:cs typeface="+mn-cs"/>
            </a:endParaRPr>
          </a:p>
        </p:txBody>
      </p:sp>
      <p:sp>
        <p:nvSpPr>
          <p:cNvPr id="11" name="Lekerekített téglalap 10">
            <a:extLst>
              <a:ext uri="{FF2B5EF4-FFF2-40B4-BE49-F238E27FC236}">
                <a16:creationId xmlns:a16="http://schemas.microsoft.com/office/drawing/2014/main" id="{76C920B7-BE94-0D30-8832-EF946C388FF8}"/>
              </a:ext>
            </a:extLst>
          </p:cNvPr>
          <p:cNvSpPr/>
          <p:nvPr/>
        </p:nvSpPr>
        <p:spPr>
          <a:xfrm>
            <a:off x="407986" y="1810583"/>
            <a:ext cx="9862683" cy="417080"/>
          </a:xfrm>
          <a:prstGeom prst="roundRect">
            <a:avLst>
              <a:gd name="adj" fmla="val 8975"/>
            </a:avLst>
          </a:prstGeom>
          <a:noFill/>
          <a:ln>
            <a:solidFill>
              <a:schemeClr val="accent5">
                <a:lumMod val="60000"/>
                <a:lumOff val="40000"/>
              </a:schemeClr>
            </a:solid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rgbClr val="7197FF"/>
                </a:solidFill>
                <a:latin typeface="Open Sauce One" pitchFamily="2" charset="0"/>
              </a:rPr>
              <a:t>Project Status &amp; Timeline Review</a:t>
            </a:r>
          </a:p>
        </p:txBody>
      </p:sp>
      <p:sp>
        <p:nvSpPr>
          <p:cNvPr id="12" name="Lekerekített téglalap 11">
            <a:extLst>
              <a:ext uri="{FF2B5EF4-FFF2-40B4-BE49-F238E27FC236}">
                <a16:creationId xmlns:a16="http://schemas.microsoft.com/office/drawing/2014/main" id="{31A1A74D-3785-5589-AB3A-DD6034C72EF3}"/>
              </a:ext>
            </a:extLst>
          </p:cNvPr>
          <p:cNvSpPr/>
          <p:nvPr/>
        </p:nvSpPr>
        <p:spPr>
          <a:xfrm>
            <a:off x="407988" y="1274164"/>
            <a:ext cx="9862683" cy="417080"/>
          </a:xfrm>
          <a:prstGeom prst="roundRect">
            <a:avLst>
              <a:gd name="adj" fmla="val 11614"/>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rgbClr val="7197FF"/>
                </a:solidFill>
                <a:latin typeface="Open Sauce One" pitchFamily="2" charset="0"/>
              </a:rPr>
              <a:t>RAID (Risks, Actions, Issues &amp; Decisions) Follow-up</a:t>
            </a:r>
          </a:p>
        </p:txBody>
      </p:sp>
      <p:sp>
        <p:nvSpPr>
          <p:cNvPr id="17" name="Lekerekített téglalap 16">
            <a:extLst>
              <a:ext uri="{FF2B5EF4-FFF2-40B4-BE49-F238E27FC236}">
                <a16:creationId xmlns:a16="http://schemas.microsoft.com/office/drawing/2014/main" id="{EC20F76B-4421-69CF-B455-88358336714B}"/>
              </a:ext>
            </a:extLst>
          </p:cNvPr>
          <p:cNvSpPr/>
          <p:nvPr/>
        </p:nvSpPr>
        <p:spPr>
          <a:xfrm>
            <a:off x="407986" y="2352039"/>
            <a:ext cx="9862683" cy="417080"/>
          </a:xfrm>
          <a:prstGeom prst="roundRect">
            <a:avLst>
              <a:gd name="adj" fmla="val 89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30436"/>
                </a:solidFill>
                <a:latin typeface="Open Sauce One" pitchFamily="2" charset="0"/>
              </a:rPr>
              <a:t>Highlight Topics</a:t>
            </a:r>
          </a:p>
        </p:txBody>
      </p:sp>
    </p:spTree>
    <p:extLst>
      <p:ext uri="{BB962C8B-B14F-4D97-AF65-F5344CB8AC3E}">
        <p14:creationId xmlns:p14="http://schemas.microsoft.com/office/powerpoint/2010/main" val="2480261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8445AB3A-A110-479F-CC58-B2F3C662BB81}"/>
              </a:ext>
            </a:extLst>
          </p:cNvPr>
          <p:cNvGraphicFramePr>
            <a:graphicFrameLocks noChangeAspect="1"/>
          </p:cNvGraphicFramePr>
          <p:nvPr>
            <p:custDataLst>
              <p:tags r:id="rId1"/>
            </p:custDataLst>
            <p:extLst>
              <p:ext uri="{D42A27DB-BD31-4B8C-83A1-F6EECF244321}">
                <p14:modId xmlns:p14="http://schemas.microsoft.com/office/powerpoint/2010/main" val="890791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4" name="think-cell data - do not delete" hidden="1">
                        <a:extLst>
                          <a:ext uri="{FF2B5EF4-FFF2-40B4-BE49-F238E27FC236}">
                            <a16:creationId xmlns:a16="http://schemas.microsoft.com/office/drawing/2014/main" id="{8445AB3A-A110-479F-CC58-B2F3C662BB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Körszelet 4">
            <a:extLst>
              <a:ext uri="{FF2B5EF4-FFF2-40B4-BE49-F238E27FC236}">
                <a16:creationId xmlns:a16="http://schemas.microsoft.com/office/drawing/2014/main" id="{F0ABA3AB-21C6-5972-B82A-6D8841C8B84B}"/>
              </a:ext>
            </a:extLst>
          </p:cNvPr>
          <p:cNvSpPr/>
          <p:nvPr/>
        </p:nvSpPr>
        <p:spPr>
          <a:xfrm>
            <a:off x="8529401" y="2270606"/>
            <a:ext cx="4302177" cy="4302177"/>
          </a:xfrm>
          <a:prstGeom prst="chord">
            <a:avLst>
              <a:gd name="adj1" fmla="val 2700000"/>
              <a:gd name="adj2" fmla="val 1891868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ím 1">
            <a:extLst>
              <a:ext uri="{FF2B5EF4-FFF2-40B4-BE49-F238E27FC236}">
                <a16:creationId xmlns:a16="http://schemas.microsoft.com/office/drawing/2014/main" id="{98FD1992-DD91-82E4-B0D8-5890E91D49A0}"/>
              </a:ext>
            </a:extLst>
          </p:cNvPr>
          <p:cNvSpPr>
            <a:spLocks noGrp="1"/>
          </p:cNvSpPr>
          <p:nvPr>
            <p:ph type="title"/>
          </p:nvPr>
        </p:nvSpPr>
        <p:spPr>
          <a:xfrm>
            <a:off x="407988" y="404813"/>
            <a:ext cx="11341100" cy="1015663"/>
          </a:xfrm>
        </p:spPr>
        <p:txBody>
          <a:bodyPr vert="horz"/>
          <a:lstStyle/>
          <a:p>
            <a:r>
              <a:rPr lang="en-US" sz="6000"/>
              <a:t>Thank you</a:t>
            </a:r>
          </a:p>
        </p:txBody>
      </p:sp>
      <p:pic>
        <p:nvPicPr>
          <p:cNvPr id="9" name="Kép 11">
            <a:extLst>
              <a:ext uri="{FF2B5EF4-FFF2-40B4-BE49-F238E27FC236}">
                <a16:creationId xmlns:a16="http://schemas.microsoft.com/office/drawing/2014/main" id="{80B0B709-A43D-73EF-D486-CA7769601863}"/>
              </a:ext>
            </a:extLst>
          </p:cNvPr>
          <p:cNvPicPr>
            <a:picLocks noChangeAspect="1"/>
          </p:cNvPicPr>
          <p:nvPr/>
        </p:nvPicPr>
        <p:blipFill rotWithShape="1">
          <a:blip r:embed="rId5"/>
          <a:srcRect l="34850" t="9547" r="33720" b="43316"/>
          <a:stretch/>
        </p:blipFill>
        <p:spPr>
          <a:xfrm>
            <a:off x="503904" y="1836093"/>
            <a:ext cx="1566352" cy="1566352"/>
          </a:xfrm>
          <a:prstGeom prst="flowChartConnector">
            <a:avLst/>
          </a:prstGeom>
        </p:spPr>
      </p:pic>
      <p:sp>
        <p:nvSpPr>
          <p:cNvPr id="10" name="Rechteck 6">
            <a:extLst>
              <a:ext uri="{FF2B5EF4-FFF2-40B4-BE49-F238E27FC236}">
                <a16:creationId xmlns:a16="http://schemas.microsoft.com/office/drawing/2014/main" id="{71836ADA-DD66-7722-8C97-5248A3C64662}"/>
              </a:ext>
            </a:extLst>
          </p:cNvPr>
          <p:cNvSpPr/>
          <p:nvPr/>
        </p:nvSpPr>
        <p:spPr>
          <a:xfrm>
            <a:off x="407988" y="3590217"/>
            <a:ext cx="3000846" cy="1939955"/>
          </a:xfrm>
          <a:prstGeom prst="rect">
            <a:avLst/>
          </a:prstGeom>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de-DE" b="1" i="0" u="none" strike="noStrike" kern="1200" cap="none" spc="0" normalizeH="0" baseline="0" noProof="0">
                <a:ln>
                  <a:noFill/>
                </a:ln>
                <a:solidFill>
                  <a:schemeClr val="accent4"/>
                </a:solidFill>
                <a:effectLst/>
                <a:uLnTx/>
                <a:uFillTx/>
                <a:latin typeface="Open Sauce One" pitchFamily="2" charset="0"/>
              </a:rPr>
              <a:t>Luca van Skyhawk</a:t>
            </a:r>
            <a:endParaRPr kumimoji="0" lang="de-DE" b="0" i="0" u="none" strike="noStrike" kern="1200" cap="none" spc="0" normalizeH="0" baseline="0" noProof="0">
              <a:ln>
                <a:noFill/>
              </a:ln>
              <a:solidFill>
                <a:schemeClr val="accent4"/>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a:ln>
                  <a:noFill/>
                </a:ln>
                <a:effectLst/>
                <a:uLnTx/>
                <a:uFillTx/>
                <a:latin typeface="Open Sauce One" pitchFamily="2" charset="0"/>
              </a:rPr>
              <a:t>CRO &amp; MD </a:t>
            </a:r>
            <a:r>
              <a:rPr lang="de-DE" sz="1200">
                <a:latin typeface="Open Sauce One" pitchFamily="2" charset="0"/>
              </a:rPr>
              <a:t>North </a:t>
            </a:r>
            <a:r>
              <a:rPr lang="de-DE" sz="1200" err="1">
                <a:latin typeface="Open Sauce One" pitchFamily="2" charset="0"/>
              </a:rPr>
              <a:t>America</a:t>
            </a:r>
            <a:endParaRPr kumimoji="0" lang="de-DE" sz="1200" b="0" i="0" u="none" strike="noStrike" kern="1200" cap="none" spc="0" normalizeH="0" baseline="0" noProof="0">
              <a:ln>
                <a:noFill/>
              </a:ln>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lang="de-DE" sz="1200">
                <a:latin typeface="Open Sauce One" pitchFamily="2" charset="0"/>
              </a:rPr>
              <a:t>l</a:t>
            </a:r>
            <a:r>
              <a:rPr kumimoji="0" lang="de-DE" sz="1200" b="0" i="0" u="none" strike="noStrike" kern="1200" cap="none" spc="0" normalizeH="0" baseline="0" noProof="0">
                <a:ln>
                  <a:noFill/>
                </a:ln>
                <a:effectLst/>
                <a:uLnTx/>
                <a:uFillTx/>
                <a:latin typeface="Open Sauce One" pitchFamily="2" charset="0"/>
              </a:rPr>
              <a:t>uca.van.skyhawk@hypatos.ai</a:t>
            </a: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a:ln>
                  <a:noFill/>
                </a:ln>
                <a:effectLst/>
                <a:uLnTx/>
                <a:uFillTx/>
                <a:latin typeface="Open Sauce One" pitchFamily="2" charset="0"/>
              </a:rPr>
              <a:t>+1.347.594.4605</a:t>
            </a: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a:ln>
                  <a:noFill/>
                </a:ln>
                <a:solidFill>
                  <a:schemeClr val="accent5"/>
                </a:solidFill>
                <a:effectLst/>
                <a:uLnTx/>
                <a:uFillTx/>
                <a:latin typeface="Open Sauce One" pitchFamily="2" charset="0"/>
                <a:hlinkClick r:id="rId6">
                  <a:extLst>
                    <a:ext uri="{A12FA001-AC4F-418D-AE19-62706E023703}">
                      <ahyp:hlinkClr xmlns:ahyp="http://schemas.microsoft.com/office/drawing/2018/hyperlinkcolor" val="tx"/>
                    </a:ext>
                  </a:extLst>
                </a:hlinkClick>
              </a:rPr>
              <a:t>hypatos.ai</a:t>
            </a:r>
            <a:endParaRPr kumimoji="0" lang="de-DE" sz="1200" b="0" i="0" u="none" strike="noStrike" kern="1200" cap="none" spc="0" normalizeH="0" baseline="0" noProof="0">
              <a:ln>
                <a:noFill/>
              </a:ln>
              <a:solidFill>
                <a:schemeClr val="accent5"/>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endParaRPr kumimoji="0" lang="de-DE" sz="1600" b="0" i="0" u="none" strike="noStrike" kern="1200" cap="none" spc="0" normalizeH="0" baseline="0" noProof="0">
              <a:ln>
                <a:noFill/>
              </a:ln>
              <a:solidFill>
                <a:schemeClr val="bg1"/>
              </a:solidFill>
              <a:effectLst/>
              <a:uLnTx/>
              <a:uFillTx/>
              <a:latin typeface="Open Sauce One" pitchFamily="2" charset="0"/>
            </a:endParaRPr>
          </a:p>
        </p:txBody>
      </p:sp>
      <p:pic>
        <p:nvPicPr>
          <p:cNvPr id="3" name="Kép 2">
            <a:extLst>
              <a:ext uri="{FF2B5EF4-FFF2-40B4-BE49-F238E27FC236}">
                <a16:creationId xmlns:a16="http://schemas.microsoft.com/office/drawing/2014/main" id="{9B82E006-DBE6-8376-CA1D-B3F1BE037B55}"/>
              </a:ext>
            </a:extLst>
          </p:cNvPr>
          <p:cNvPicPr>
            <a:picLocks noChangeAspect="1"/>
          </p:cNvPicPr>
          <p:nvPr/>
        </p:nvPicPr>
        <p:blipFill>
          <a:blip r:embed="rId7"/>
          <a:stretch>
            <a:fillRect/>
          </a:stretch>
        </p:blipFill>
        <p:spPr>
          <a:xfrm>
            <a:off x="7355712" y="3154146"/>
            <a:ext cx="3718491" cy="3470223"/>
          </a:xfrm>
          <a:prstGeom prst="rect">
            <a:avLst/>
          </a:prstGeom>
        </p:spPr>
      </p:pic>
      <p:sp>
        <p:nvSpPr>
          <p:cNvPr id="4" name="Rechteck 6">
            <a:extLst>
              <a:ext uri="{FF2B5EF4-FFF2-40B4-BE49-F238E27FC236}">
                <a16:creationId xmlns:a16="http://schemas.microsoft.com/office/drawing/2014/main" id="{51384EC5-2AB8-2618-0578-9B96A2A07489}"/>
              </a:ext>
            </a:extLst>
          </p:cNvPr>
          <p:cNvSpPr/>
          <p:nvPr/>
        </p:nvSpPr>
        <p:spPr>
          <a:xfrm>
            <a:off x="3269938" y="3590217"/>
            <a:ext cx="3000846" cy="1939955"/>
          </a:xfrm>
          <a:prstGeom prst="rect">
            <a:avLst/>
          </a:prstGeom>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de-DE" b="1" i="0" u="none" strike="noStrike" kern="1200" cap="none" spc="0" normalizeH="0" baseline="0" noProof="0">
                <a:ln>
                  <a:noFill/>
                </a:ln>
                <a:solidFill>
                  <a:schemeClr val="accent4"/>
                </a:solidFill>
                <a:effectLst/>
                <a:uLnTx/>
                <a:uFillTx/>
                <a:latin typeface="Open Sauce One" pitchFamily="2" charset="0"/>
              </a:rPr>
              <a:t>Jorge Costa</a:t>
            </a:r>
            <a:endParaRPr kumimoji="0" lang="de-DE" b="0" i="0" u="none" strike="noStrike" kern="1200" cap="none" spc="0" normalizeH="0" baseline="0" noProof="0">
              <a:ln>
                <a:noFill/>
              </a:ln>
              <a:solidFill>
                <a:schemeClr val="accent4"/>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a:ln>
                  <a:noFill/>
                </a:ln>
                <a:effectLst/>
                <a:uLnTx/>
                <a:uFillTx/>
                <a:latin typeface="Open Sauce One" pitchFamily="2" charset="0"/>
              </a:rPr>
              <a:t>Head of Professional Services</a:t>
            </a:r>
          </a:p>
          <a:p>
            <a:pPr marL="0" marR="0" lvl="0" indent="0" defTabSz="914400" rtl="0" eaLnBrk="1" fontAlgn="auto" latinLnBrk="0" hangingPunct="1">
              <a:lnSpc>
                <a:spcPct val="150000"/>
              </a:lnSpc>
              <a:spcBef>
                <a:spcPts val="0"/>
              </a:spcBef>
              <a:spcAft>
                <a:spcPts val="0"/>
              </a:spcAft>
              <a:buClrTx/>
              <a:buSzTx/>
              <a:buFontTx/>
              <a:buNone/>
              <a:tabLst/>
              <a:defRPr/>
            </a:pPr>
            <a:r>
              <a:rPr lang="de-DE" sz="1200">
                <a:latin typeface="Open Sauce One" pitchFamily="2" charset="0"/>
              </a:rPr>
              <a:t>jorge.costa</a:t>
            </a:r>
            <a:r>
              <a:rPr kumimoji="0" lang="de-DE" sz="1200" b="0" i="0" u="none" strike="noStrike" kern="1200" cap="none" spc="0" normalizeH="0" baseline="0" noProof="0">
                <a:ln>
                  <a:noFill/>
                </a:ln>
                <a:effectLst/>
                <a:uLnTx/>
                <a:uFillTx/>
                <a:latin typeface="Open Sauce One" pitchFamily="2" charset="0"/>
              </a:rPr>
              <a:t>@</a:t>
            </a:r>
            <a:r>
              <a:rPr kumimoji="0" lang="de-DE" sz="1200" b="0" i="0" u="none" strike="noStrike" kern="1200" cap="none" spc="0" normalizeH="0" baseline="0" noProof="0" err="1">
                <a:ln>
                  <a:noFill/>
                </a:ln>
                <a:effectLst/>
                <a:uLnTx/>
                <a:uFillTx/>
                <a:latin typeface="Open Sauce One" pitchFamily="2" charset="0"/>
              </a:rPr>
              <a:t>hypatos.ai</a:t>
            </a:r>
            <a:endParaRPr kumimoji="0" lang="de-DE" sz="1200" b="0" i="0" u="none" strike="noStrike" kern="1200" cap="none" spc="0" normalizeH="0" baseline="0" noProof="0">
              <a:ln>
                <a:noFill/>
              </a:ln>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a:ln>
                  <a:noFill/>
                </a:ln>
                <a:effectLst/>
                <a:uLnTx/>
                <a:uFillTx/>
                <a:latin typeface="Open Sauce One" pitchFamily="2" charset="0"/>
              </a:rPr>
              <a:t>+49 153 445 667 32</a:t>
            </a:r>
            <a:br>
              <a:rPr kumimoji="0" lang="de-DE" sz="1200" b="0" i="0" u="none" strike="noStrike" kern="1200" cap="none" spc="0" normalizeH="0" baseline="0" noProof="0">
                <a:ln>
                  <a:noFill/>
                </a:ln>
                <a:effectLst/>
                <a:uLnTx/>
                <a:uFillTx/>
                <a:latin typeface="Open Sauce One" pitchFamily="2" charset="0"/>
              </a:rPr>
            </a:br>
            <a:r>
              <a:rPr kumimoji="0" lang="de-DE" sz="1200" b="0" i="0" u="none" strike="noStrike" kern="1200" cap="none" spc="0" normalizeH="0" baseline="0" noProof="0">
                <a:ln>
                  <a:noFill/>
                </a:ln>
                <a:solidFill>
                  <a:schemeClr val="accent5"/>
                </a:solidFill>
                <a:effectLst/>
                <a:uLnTx/>
                <a:uFillTx/>
                <a:latin typeface="Open Sauce One" pitchFamily="2" charset="0"/>
                <a:hlinkClick r:id="rId6">
                  <a:extLst>
                    <a:ext uri="{A12FA001-AC4F-418D-AE19-62706E023703}">
                      <ahyp:hlinkClr xmlns:ahyp="http://schemas.microsoft.com/office/drawing/2018/hyperlinkcolor" val="tx"/>
                    </a:ext>
                  </a:extLst>
                </a:hlinkClick>
              </a:rPr>
              <a:t>hypatos.ai</a:t>
            </a:r>
            <a:endParaRPr kumimoji="0" lang="de-DE" sz="1200" b="0" i="0" u="none" strike="noStrike" kern="1200" cap="none" spc="0" normalizeH="0" baseline="0" noProof="0">
              <a:ln>
                <a:noFill/>
              </a:ln>
              <a:solidFill>
                <a:schemeClr val="accent5"/>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endParaRPr kumimoji="0" lang="de-DE" sz="1600" b="0" i="0" u="none" strike="noStrike" kern="1200" cap="none" spc="0" normalizeH="0" baseline="0" noProof="0">
              <a:ln>
                <a:noFill/>
              </a:ln>
              <a:solidFill>
                <a:schemeClr val="bg1"/>
              </a:solidFill>
              <a:effectLst/>
              <a:uLnTx/>
              <a:uFillTx/>
              <a:latin typeface="Open Sauce One" pitchFamily="2" charset="0"/>
            </a:endParaRPr>
          </a:p>
        </p:txBody>
      </p:sp>
      <p:pic>
        <p:nvPicPr>
          <p:cNvPr id="6" name="Kép 11">
            <a:extLst>
              <a:ext uri="{FF2B5EF4-FFF2-40B4-BE49-F238E27FC236}">
                <a16:creationId xmlns:a16="http://schemas.microsoft.com/office/drawing/2014/main" id="{CCD80132-F621-6FDB-52E2-6F022CC366D5}"/>
              </a:ext>
            </a:extLst>
          </p:cNvPr>
          <p:cNvPicPr>
            <a:picLocks noChangeAspect="1"/>
          </p:cNvPicPr>
          <p:nvPr/>
        </p:nvPicPr>
        <p:blipFill>
          <a:blip r:embed="rId8"/>
          <a:srcRect t="1187" b="1187"/>
          <a:stretch/>
        </p:blipFill>
        <p:spPr>
          <a:xfrm>
            <a:off x="3334068" y="1836093"/>
            <a:ext cx="1566352" cy="1566352"/>
          </a:xfrm>
          <a:prstGeom prst="ellipse">
            <a:avLst/>
          </a:prstGeom>
        </p:spPr>
      </p:pic>
      <p:sp>
        <p:nvSpPr>
          <p:cNvPr id="8" name="Rechteck 6">
            <a:extLst>
              <a:ext uri="{FF2B5EF4-FFF2-40B4-BE49-F238E27FC236}">
                <a16:creationId xmlns:a16="http://schemas.microsoft.com/office/drawing/2014/main" id="{8B9D26B0-815F-1161-8F98-0F60F2A0CB24}"/>
              </a:ext>
            </a:extLst>
          </p:cNvPr>
          <p:cNvSpPr/>
          <p:nvPr/>
        </p:nvSpPr>
        <p:spPr>
          <a:xfrm>
            <a:off x="5813991" y="3590215"/>
            <a:ext cx="3000846" cy="1939955"/>
          </a:xfrm>
          <a:prstGeom prst="rect">
            <a:avLst/>
          </a:prstGeom>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lang="de-DE" b="1">
                <a:solidFill>
                  <a:schemeClr val="accent4"/>
                </a:solidFill>
                <a:latin typeface="Open Sauce One" pitchFamily="2" charset="0"/>
              </a:rPr>
              <a:t>Letícia Silva</a:t>
            </a:r>
            <a:endParaRPr kumimoji="0" lang="de-DE" b="0" i="0" u="none" strike="noStrike" kern="1200" cap="none" spc="0" normalizeH="0" baseline="0" noProof="0">
              <a:ln>
                <a:noFill/>
              </a:ln>
              <a:solidFill>
                <a:schemeClr val="accent4"/>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a:ln>
                  <a:noFill/>
                </a:ln>
                <a:effectLst/>
                <a:uLnTx/>
                <a:uFillTx/>
                <a:latin typeface="Open Sauce One" pitchFamily="2" charset="0"/>
              </a:rPr>
              <a:t>Associate PMO</a:t>
            </a:r>
          </a:p>
          <a:p>
            <a:pPr marL="0" marR="0" lvl="0" indent="0" defTabSz="914400" rtl="0" eaLnBrk="1" fontAlgn="auto" latinLnBrk="0" hangingPunct="1">
              <a:lnSpc>
                <a:spcPct val="150000"/>
              </a:lnSpc>
              <a:spcBef>
                <a:spcPts val="0"/>
              </a:spcBef>
              <a:spcAft>
                <a:spcPts val="0"/>
              </a:spcAft>
              <a:buClrTx/>
              <a:buSzTx/>
              <a:buFontTx/>
              <a:buNone/>
              <a:tabLst/>
              <a:defRPr/>
            </a:pPr>
            <a:r>
              <a:rPr lang="de-DE" sz="1200">
                <a:latin typeface="Open Sauce One" pitchFamily="2" charset="0"/>
              </a:rPr>
              <a:t>leticia.silva</a:t>
            </a:r>
            <a:r>
              <a:rPr kumimoji="0" lang="de-DE" sz="1200" b="0" i="0" u="none" strike="noStrike" kern="1200" cap="none" spc="0" normalizeH="0" baseline="0" noProof="0">
                <a:ln>
                  <a:noFill/>
                </a:ln>
                <a:effectLst/>
                <a:uLnTx/>
                <a:uFillTx/>
                <a:latin typeface="Open Sauce One" pitchFamily="2" charset="0"/>
              </a:rPr>
              <a:t>@</a:t>
            </a:r>
            <a:r>
              <a:rPr kumimoji="0" lang="de-DE" sz="1200" b="0" i="0" u="none" strike="noStrike" kern="1200" cap="none" spc="0" normalizeH="0" baseline="0" noProof="0" err="1">
                <a:ln>
                  <a:noFill/>
                </a:ln>
                <a:effectLst/>
                <a:uLnTx/>
                <a:uFillTx/>
                <a:latin typeface="Open Sauce One" pitchFamily="2" charset="0"/>
              </a:rPr>
              <a:t>hypatos.ai</a:t>
            </a:r>
            <a:endParaRPr kumimoji="0" lang="de-DE" sz="1200" b="0" i="0" u="none" strike="noStrike" kern="1200" cap="none" spc="0" normalizeH="0" baseline="0" noProof="0">
              <a:ln>
                <a:noFill/>
              </a:ln>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a:ln>
                  <a:noFill/>
                </a:ln>
                <a:effectLst/>
                <a:uLnTx/>
                <a:uFillTx/>
                <a:latin typeface="Open Sauce One" pitchFamily="2" charset="0"/>
              </a:rPr>
              <a:t>+49 153 445 667 32</a:t>
            </a:r>
            <a:br>
              <a:rPr kumimoji="0" lang="de-DE" sz="1200" b="0" i="0" u="none" strike="noStrike" kern="1200" cap="none" spc="0" normalizeH="0" baseline="0" noProof="0">
                <a:ln>
                  <a:noFill/>
                </a:ln>
                <a:effectLst/>
                <a:uLnTx/>
                <a:uFillTx/>
                <a:latin typeface="Open Sauce One" pitchFamily="2" charset="0"/>
              </a:rPr>
            </a:br>
            <a:r>
              <a:rPr kumimoji="0" lang="de-DE" sz="1200" b="0" i="0" u="none" strike="noStrike" kern="1200" cap="none" spc="0" normalizeH="0" baseline="0" noProof="0">
                <a:ln>
                  <a:noFill/>
                </a:ln>
                <a:solidFill>
                  <a:schemeClr val="accent5"/>
                </a:solidFill>
                <a:effectLst/>
                <a:uLnTx/>
                <a:uFillTx/>
                <a:latin typeface="Open Sauce One" pitchFamily="2" charset="0"/>
                <a:hlinkClick r:id="rId6">
                  <a:extLst>
                    <a:ext uri="{A12FA001-AC4F-418D-AE19-62706E023703}">
                      <ahyp:hlinkClr xmlns:ahyp="http://schemas.microsoft.com/office/drawing/2018/hyperlinkcolor" val="tx"/>
                    </a:ext>
                  </a:extLst>
                </a:hlinkClick>
              </a:rPr>
              <a:t>hypatos.ai</a:t>
            </a:r>
            <a:endParaRPr kumimoji="0" lang="de-DE" sz="1200" b="0" i="0" u="none" strike="noStrike" kern="1200" cap="none" spc="0" normalizeH="0" baseline="0" noProof="0">
              <a:ln>
                <a:noFill/>
              </a:ln>
              <a:solidFill>
                <a:schemeClr val="accent5"/>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endParaRPr kumimoji="0" lang="de-DE" sz="1600" b="0" i="0" u="none" strike="noStrike" kern="1200" cap="none" spc="0" normalizeH="0" baseline="0" noProof="0">
              <a:ln>
                <a:noFill/>
              </a:ln>
              <a:solidFill>
                <a:schemeClr val="bg1"/>
              </a:solidFill>
              <a:effectLst/>
              <a:uLnTx/>
              <a:uFillTx/>
              <a:latin typeface="Open Sauce One" pitchFamily="2" charset="0"/>
            </a:endParaRPr>
          </a:p>
        </p:txBody>
      </p:sp>
      <p:pic>
        <p:nvPicPr>
          <p:cNvPr id="11" name="Kép 11">
            <a:extLst>
              <a:ext uri="{FF2B5EF4-FFF2-40B4-BE49-F238E27FC236}">
                <a16:creationId xmlns:a16="http://schemas.microsoft.com/office/drawing/2014/main" id="{9BD1F79A-D9EE-9BF7-8E52-E246B7610422}"/>
              </a:ext>
            </a:extLst>
          </p:cNvPr>
          <p:cNvPicPr>
            <a:picLocks noChangeAspect="1"/>
          </p:cNvPicPr>
          <p:nvPr/>
        </p:nvPicPr>
        <p:blipFill>
          <a:blip r:embed="rId9"/>
          <a:srcRect/>
          <a:stretch/>
        </p:blipFill>
        <p:spPr>
          <a:xfrm>
            <a:off x="5878121" y="1836091"/>
            <a:ext cx="1566352" cy="1566352"/>
          </a:xfrm>
          <a:prstGeom prst="ellipse">
            <a:avLst/>
          </a:prstGeom>
        </p:spPr>
      </p:pic>
    </p:spTree>
    <p:extLst>
      <p:ext uri="{BB962C8B-B14F-4D97-AF65-F5344CB8AC3E}">
        <p14:creationId xmlns:p14="http://schemas.microsoft.com/office/powerpoint/2010/main" val="2079069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E8A96F4-6AE0-42A5-A3F3-A38A5A292D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8" name="think-cell data - do not delete" hidden="1">
                        <a:extLst>
                          <a:ext uri="{FF2B5EF4-FFF2-40B4-BE49-F238E27FC236}">
                            <a16:creationId xmlns:a16="http://schemas.microsoft.com/office/drawing/2014/main" id="{DE8A96F4-6AE0-42A5-A3F3-A38A5A292D90}"/>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7" name="Lekerekített téglalap 4">
            <a:extLst>
              <a:ext uri="{FF2B5EF4-FFF2-40B4-BE49-F238E27FC236}">
                <a16:creationId xmlns:a16="http://schemas.microsoft.com/office/drawing/2014/main" id="{28BC0EE5-A0BF-4C58-9161-FF722A7747DA}"/>
              </a:ext>
            </a:extLst>
          </p:cNvPr>
          <p:cNvSpPr>
            <a:spLocks noGrp="1" noRot="1" noMove="1" noResize="1" noEditPoints="1" noAdjustHandles="1" noChangeArrowheads="1" noChangeShapeType="1"/>
          </p:cNvSpPr>
          <p:nvPr/>
        </p:nvSpPr>
        <p:spPr>
          <a:xfrm>
            <a:off x="3029192" y="2137370"/>
            <a:ext cx="8719895" cy="4171355"/>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Open Sauce One" pitchFamily="2" charset="0"/>
              <a:ea typeface="+mn-ea"/>
              <a:cs typeface="+mn-cs"/>
            </a:endParaRPr>
          </a:p>
        </p:txBody>
      </p:sp>
      <p:sp>
        <p:nvSpPr>
          <p:cNvPr id="2" name="Cím 1">
            <a:extLst>
              <a:ext uri="{FF2B5EF4-FFF2-40B4-BE49-F238E27FC236}">
                <a16:creationId xmlns:a16="http://schemas.microsoft.com/office/drawing/2014/main" id="{E5488EFF-CBEA-80E6-3982-C78BD5B50047}"/>
              </a:ext>
            </a:extLst>
          </p:cNvPr>
          <p:cNvSpPr>
            <a:spLocks noGrp="1"/>
          </p:cNvSpPr>
          <p:nvPr>
            <p:ph type="title"/>
          </p:nvPr>
        </p:nvSpPr>
        <p:spPr>
          <a:xfrm>
            <a:off x="407988" y="963466"/>
            <a:ext cx="11341100" cy="830997"/>
          </a:xfrm>
        </p:spPr>
        <p:txBody>
          <a:bodyPr vert="horz"/>
          <a:lstStyle/>
          <a:p>
            <a:r>
              <a:rPr lang="en-US" sz="2400"/>
              <a:t>Achieving 90% - 95% header data capture accuracy for incoming invoices without manual verification (Pilot Scope)</a:t>
            </a:r>
          </a:p>
        </p:txBody>
      </p:sp>
      <p:sp>
        <p:nvSpPr>
          <p:cNvPr id="4" name="Dia számának helye 3">
            <a:extLst>
              <a:ext uri="{FF2B5EF4-FFF2-40B4-BE49-F238E27FC236}">
                <a16:creationId xmlns:a16="http://schemas.microsoft.com/office/drawing/2014/main" id="{A0139F03-1DAC-25D3-850E-887054A401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2D668-955E-AB45-9B4E-D4D3490B1261}" type="slidenum">
              <a:rPr kumimoji="0" lang="en-US" sz="1000" b="0" i="0" u="none" strike="noStrike" kern="1200" cap="none" spc="0" normalizeH="0" baseline="0" noProof="0" smtClean="0">
                <a:ln>
                  <a:noFill/>
                </a:ln>
                <a:solidFill>
                  <a:srgbClr val="FFFFFF">
                    <a:lumMod val="50000"/>
                  </a:srgbClr>
                </a:solidFill>
                <a:effectLst/>
                <a:uLnTx/>
                <a:uFillTx/>
                <a:latin typeface="Open Sauce On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FFFFFF">
                  <a:lumMod val="50000"/>
                </a:srgbClr>
              </a:solidFill>
              <a:effectLst/>
              <a:uLnTx/>
              <a:uFillTx/>
              <a:latin typeface="Open Sauce One" pitchFamily="2" charset="0"/>
              <a:ea typeface="+mn-ea"/>
              <a:cs typeface="+mn-cs"/>
            </a:endParaRPr>
          </a:p>
        </p:txBody>
      </p:sp>
      <p:sp>
        <p:nvSpPr>
          <p:cNvPr id="5" name="Tartalom helye 4">
            <a:extLst>
              <a:ext uri="{FF2B5EF4-FFF2-40B4-BE49-F238E27FC236}">
                <a16:creationId xmlns:a16="http://schemas.microsoft.com/office/drawing/2014/main" id="{3DAF7342-BA0B-8740-DCF6-A65EA384405C}"/>
              </a:ext>
            </a:extLst>
          </p:cNvPr>
          <p:cNvSpPr>
            <a:spLocks noGrp="1"/>
          </p:cNvSpPr>
          <p:nvPr>
            <p:ph idx="13"/>
          </p:nvPr>
        </p:nvSpPr>
        <p:spPr/>
        <p:txBody>
          <a:bodyPr/>
          <a:lstStyle/>
          <a:p>
            <a:r>
              <a:rPr lang="en-US"/>
              <a:t>TPMG Model Results Presentation </a:t>
            </a:r>
          </a:p>
          <a:p>
            <a:endParaRPr lang="en-US"/>
          </a:p>
        </p:txBody>
      </p:sp>
      <p:sp>
        <p:nvSpPr>
          <p:cNvPr id="22" name="Lekerekített téglalap 4">
            <a:extLst>
              <a:ext uri="{FF2B5EF4-FFF2-40B4-BE49-F238E27FC236}">
                <a16:creationId xmlns:a16="http://schemas.microsoft.com/office/drawing/2014/main" id="{7B142CC6-E85D-45F8-BA2B-CB9806188691}"/>
              </a:ext>
            </a:extLst>
          </p:cNvPr>
          <p:cNvSpPr/>
          <p:nvPr/>
        </p:nvSpPr>
        <p:spPr>
          <a:xfrm>
            <a:off x="407989" y="2127723"/>
            <a:ext cx="2449511" cy="4171355"/>
          </a:xfrm>
          <a:prstGeom prst="roundRect">
            <a:avLst>
              <a:gd name="adj" fmla="val 7297"/>
            </a:avLst>
          </a:prstGeom>
          <a:solidFill>
            <a:schemeClr val="bg2"/>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20000"/>
              </a:lnSpc>
            </a:pPr>
            <a:endParaRPr lang="en-US" sz="1400">
              <a:solidFill>
                <a:schemeClr val="tx1"/>
              </a:solidFill>
              <a:latin typeface="Open Sauce One" pitchFamily="2" charset="0"/>
            </a:endParaRPr>
          </a:p>
          <a:p>
            <a:pPr algn="ctr">
              <a:lnSpc>
                <a:spcPct val="120000"/>
              </a:lnSpc>
            </a:pPr>
            <a:r>
              <a:rPr kumimoji="0" lang="en-US" sz="1400" b="1" i="0" u="none" strike="noStrike" kern="1200" cap="none" spc="0" normalizeH="0" baseline="0" noProof="0">
                <a:ln>
                  <a:noFill/>
                </a:ln>
                <a:solidFill>
                  <a:schemeClr val="tx2"/>
                </a:solidFill>
                <a:effectLst/>
                <a:uLnTx/>
                <a:uFillTx/>
                <a:latin typeface="Open Sauce One" pitchFamily="2" charset="0"/>
                <a:ea typeface="+mn-ea"/>
                <a:cs typeface="+mn-cs"/>
              </a:rPr>
              <a:t>Key metric</a:t>
            </a:r>
          </a:p>
          <a:p>
            <a:pPr algn="ctr">
              <a:lnSpc>
                <a:spcPct val="120000"/>
              </a:lnSpc>
            </a:pPr>
            <a:endParaRPr lang="en-US" sz="1400">
              <a:solidFill>
                <a:schemeClr val="tx1"/>
              </a:solidFill>
              <a:latin typeface="Open Sauce One" pitchFamily="2" charset="0"/>
            </a:endParaRPr>
          </a:p>
          <a:p>
            <a:pPr algn="ctr">
              <a:lnSpc>
                <a:spcPct val="120000"/>
              </a:lnSpc>
            </a:pPr>
            <a:r>
              <a:rPr lang="en-US" sz="1400">
                <a:solidFill>
                  <a:schemeClr val="tx1"/>
                </a:solidFill>
                <a:latin typeface="Open Sauce One" pitchFamily="2" charset="0"/>
              </a:rPr>
              <a:t>The capture rate of header data points of incoming invoices without manual verification can be increased to at least 90% - 95% on field level for documents within the training and testing scope.</a:t>
            </a:r>
          </a:p>
        </p:txBody>
      </p:sp>
      <p:graphicFrame>
        <p:nvGraphicFramePr>
          <p:cNvPr id="110" name="Chart 109">
            <a:extLst>
              <a:ext uri="{FF2B5EF4-FFF2-40B4-BE49-F238E27FC236}">
                <a16:creationId xmlns:a16="http://schemas.microsoft.com/office/drawing/2014/main" id="{0AD255A7-63DA-555B-89E5-A82632631972}"/>
              </a:ext>
            </a:extLst>
          </p:cNvPr>
          <p:cNvGraphicFramePr/>
          <p:nvPr>
            <p:custDataLst>
              <p:tags r:id="rId2"/>
            </p:custDataLst>
          </p:nvPr>
        </p:nvGraphicFramePr>
        <p:xfrm>
          <a:off x="4095750" y="2835275"/>
          <a:ext cx="2027238" cy="3284538"/>
        </p:xfrm>
        <a:graphic>
          <a:graphicData uri="http://schemas.openxmlformats.org/drawingml/2006/chart">
            <c:chart xmlns:c="http://schemas.openxmlformats.org/drawingml/2006/chart" xmlns:r="http://schemas.openxmlformats.org/officeDocument/2006/relationships" r:id="rId27"/>
          </a:graphicData>
        </a:graphic>
      </p:graphicFrame>
      <p:sp>
        <p:nvSpPr>
          <p:cNvPr id="77" name="Arrow: Right 76">
            <a:extLst>
              <a:ext uri="{FF2B5EF4-FFF2-40B4-BE49-F238E27FC236}">
                <a16:creationId xmlns:a16="http://schemas.microsoft.com/office/drawing/2014/main" id="{BC4BDEA7-CC66-7836-669B-6E3A043C778F}"/>
              </a:ext>
            </a:extLst>
          </p:cNvPr>
          <p:cNvSpPr/>
          <p:nvPr>
            <p:custDataLst>
              <p:tags r:id="rId3"/>
            </p:custDataLst>
          </p:nvPr>
        </p:nvSpPr>
        <p:spPr bwMode="auto">
          <a:xfrm rot="16200000">
            <a:off x="5749925" y="5932488"/>
            <a:ext cx="128588" cy="152400"/>
          </a:xfrm>
          <a:prstGeom prst="rightArrow">
            <a:avLst>
              <a:gd name="adj1" fmla="val 100000"/>
              <a:gd name="adj2" fmla="val 100000"/>
            </a:avLst>
          </a:prstGeom>
          <a:solidFill>
            <a:schemeClr val="tx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6" name="Straight Connector 85">
            <a:extLst>
              <a:ext uri="{FF2B5EF4-FFF2-40B4-BE49-F238E27FC236}">
                <a16:creationId xmlns:a16="http://schemas.microsoft.com/office/drawing/2014/main" id="{1C01D990-124B-6169-985C-E43808A8C23B}"/>
              </a:ext>
            </a:extLst>
          </p:cNvPr>
          <p:cNvCxnSpPr/>
          <p:nvPr>
            <p:custDataLst>
              <p:tags r:id="rId4"/>
            </p:custDataLst>
          </p:nvPr>
        </p:nvCxnSpPr>
        <p:spPr bwMode="auto">
          <a:xfrm>
            <a:off x="5813425" y="3060700"/>
            <a:ext cx="0" cy="22225"/>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E9DA3235-EE4E-759B-83C7-454F818BBF09}"/>
              </a:ext>
            </a:extLst>
          </p:cNvPr>
          <p:cNvCxnSpPr/>
          <p:nvPr>
            <p:custDataLst>
              <p:tags r:id="rId5"/>
            </p:custDataLst>
          </p:nvPr>
        </p:nvCxnSpPr>
        <p:spPr bwMode="auto">
          <a:xfrm>
            <a:off x="5813425" y="3295650"/>
            <a:ext cx="0" cy="4445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7B88E937-3A15-9A28-A797-6DD58438F73A}"/>
              </a:ext>
            </a:extLst>
          </p:cNvPr>
          <p:cNvCxnSpPr/>
          <p:nvPr>
            <p:custDataLst>
              <p:tags r:id="rId6"/>
            </p:custDataLst>
          </p:nvPr>
        </p:nvCxnSpPr>
        <p:spPr bwMode="auto">
          <a:xfrm>
            <a:off x="5813425" y="3552825"/>
            <a:ext cx="0" cy="560388"/>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9AE98E31-B929-CA35-69DB-ED8BEBD28CAF}"/>
              </a:ext>
            </a:extLst>
          </p:cNvPr>
          <p:cNvCxnSpPr/>
          <p:nvPr>
            <p:custDataLst>
              <p:tags r:id="rId7"/>
            </p:custDataLst>
          </p:nvPr>
        </p:nvCxnSpPr>
        <p:spPr bwMode="auto">
          <a:xfrm>
            <a:off x="5813425" y="4325938"/>
            <a:ext cx="0" cy="303213"/>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B08DBE4B-6E7C-009D-31FD-1D4C98F22153}"/>
              </a:ext>
            </a:extLst>
          </p:cNvPr>
          <p:cNvCxnSpPr/>
          <p:nvPr>
            <p:custDataLst>
              <p:tags r:id="rId8"/>
            </p:custDataLst>
          </p:nvPr>
        </p:nvCxnSpPr>
        <p:spPr bwMode="auto">
          <a:xfrm>
            <a:off x="5813425" y="4841875"/>
            <a:ext cx="0" cy="1052513"/>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Szöveg helye 2">
            <a:extLst>
              <a:ext uri="{FF2B5EF4-FFF2-40B4-BE49-F238E27FC236}">
                <a16:creationId xmlns:a16="http://schemas.microsoft.com/office/drawing/2014/main" id="{6BC610D1-575F-ECF6-2183-D2E011BBF205}"/>
              </a:ext>
            </a:extLst>
          </p:cNvPr>
          <p:cNvSpPr>
            <a:spLocks noGrp="1"/>
          </p:cNvSpPr>
          <p:nvPr>
            <p:custDataLst>
              <p:tags r:id="rId9"/>
            </p:custDataLst>
          </p:nvPr>
        </p:nvSpPr>
        <p:spPr bwMode="auto">
          <a:xfrm>
            <a:off x="3770313" y="3082925"/>
            <a:ext cx="322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4E2E10-67CE-49D5-B3E0-161C2164F141}" type="datetime'''''''N''U''''''''''''''''I''''''D'''''''''''''''">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NUID</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Szöveg helye 2">
            <a:extLst>
              <a:ext uri="{FF2B5EF4-FFF2-40B4-BE49-F238E27FC236}">
                <a16:creationId xmlns:a16="http://schemas.microsoft.com/office/drawing/2014/main" id="{6BC610D1-575F-ECF6-2183-D2E011BBF205}"/>
              </a:ext>
            </a:extLst>
          </p:cNvPr>
          <p:cNvSpPr>
            <a:spLocks noGrp="1"/>
          </p:cNvSpPr>
          <p:nvPr>
            <p:custDataLst>
              <p:tags r:id="rId10"/>
            </p:custDataLst>
          </p:nvPr>
        </p:nvSpPr>
        <p:spPr bwMode="auto">
          <a:xfrm>
            <a:off x="3543300" y="3340100"/>
            <a:ext cx="549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B0568B7-207A-42FC-AA96-A2DCC126F3D6}" type="datetime'''''G''''''L S''''''''''''''''t''r''i''''''n''''''''g'' '''''">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GL String </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Szöveg helye 2">
            <a:extLst>
              <a:ext uri="{FF2B5EF4-FFF2-40B4-BE49-F238E27FC236}">
                <a16:creationId xmlns:a16="http://schemas.microsoft.com/office/drawing/2014/main" id="{6BC610D1-575F-ECF6-2183-D2E011BBF205}"/>
              </a:ext>
            </a:extLst>
          </p:cNvPr>
          <p:cNvSpPr>
            <a:spLocks noGrp="1"/>
          </p:cNvSpPr>
          <p:nvPr>
            <p:custDataLst>
              <p:tags r:id="rId11"/>
            </p:custDataLst>
          </p:nvPr>
        </p:nvSpPr>
        <p:spPr bwMode="auto">
          <a:xfrm>
            <a:off x="3387725" y="3598863"/>
            <a:ext cx="704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BCF8DE6-3D47-495D-9F58-412469ABA9E4}" type="datetime'''''''''''''''''''''''''''I''n''''voi''''''''c''e Da''''t''e'">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Invoice Date</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3" name="Szöveg helye 2">
            <a:extLst>
              <a:ext uri="{FF2B5EF4-FFF2-40B4-BE49-F238E27FC236}">
                <a16:creationId xmlns:a16="http://schemas.microsoft.com/office/drawing/2014/main" id="{6BC610D1-575F-ECF6-2183-D2E011BBF205}"/>
              </a:ext>
            </a:extLst>
          </p:cNvPr>
          <p:cNvSpPr>
            <a:spLocks noGrp="1"/>
          </p:cNvSpPr>
          <p:nvPr>
            <p:custDataLst>
              <p:tags r:id="rId12"/>
            </p:custDataLst>
          </p:nvPr>
        </p:nvSpPr>
        <p:spPr bwMode="auto">
          <a:xfrm>
            <a:off x="3203575" y="3856038"/>
            <a:ext cx="889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9E8D20-5922-4ABE-9FFE-DD2E3DC9ED3E}" type="datetime'''''''I''''n''''''''''v''''oic''''''e'''''''''' N''um''be''r'">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Invoice Number</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 name="Szöveg helye 2">
            <a:extLst>
              <a:ext uri="{FF2B5EF4-FFF2-40B4-BE49-F238E27FC236}">
                <a16:creationId xmlns:a16="http://schemas.microsoft.com/office/drawing/2014/main" id="{6BC610D1-575F-ECF6-2183-D2E011BBF205}"/>
              </a:ext>
            </a:extLst>
          </p:cNvPr>
          <p:cNvSpPr>
            <a:spLocks noGrp="1"/>
          </p:cNvSpPr>
          <p:nvPr>
            <p:custDataLst>
              <p:tags r:id="rId13"/>
            </p:custDataLst>
          </p:nvPr>
        </p:nvSpPr>
        <p:spPr bwMode="auto">
          <a:xfrm>
            <a:off x="3208338" y="4113213"/>
            <a:ext cx="884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4B6F3E-C2F2-43A9-86FD-E8543C05590F}" type="datetime'Fr''eight C''har''''''''g''''''''es'''''''''''''''">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Freight Charges</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0" name="Szöveg helye 2">
            <a:extLst>
              <a:ext uri="{FF2B5EF4-FFF2-40B4-BE49-F238E27FC236}">
                <a16:creationId xmlns:a16="http://schemas.microsoft.com/office/drawing/2014/main" id="{6BC610D1-575F-ECF6-2183-D2E011BBF205}"/>
              </a:ext>
            </a:extLst>
          </p:cNvPr>
          <p:cNvSpPr>
            <a:spLocks noGrp="1"/>
          </p:cNvSpPr>
          <p:nvPr>
            <p:custDataLst>
              <p:tags r:id="rId14"/>
            </p:custDataLst>
          </p:nvPr>
        </p:nvSpPr>
        <p:spPr bwMode="auto">
          <a:xfrm>
            <a:off x="3289300" y="4370388"/>
            <a:ext cx="803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4BCDA16-69F0-429F-9CAA-3091BB3CC228}" type="datetime'Gr''o''''''''s''''''''s'''''''''' Am''''o''''''''''un''''t'''">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Gross Amount</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 name="Szöveg helye 2">
            <a:extLst>
              <a:ext uri="{FF2B5EF4-FFF2-40B4-BE49-F238E27FC236}">
                <a16:creationId xmlns:a16="http://schemas.microsoft.com/office/drawing/2014/main" id="{6BC610D1-575F-ECF6-2183-D2E011BBF205}"/>
              </a:ext>
            </a:extLst>
          </p:cNvPr>
          <p:cNvSpPr>
            <a:spLocks noGrp="1"/>
          </p:cNvSpPr>
          <p:nvPr>
            <p:custDataLst>
              <p:tags r:id="rId15"/>
            </p:custDataLst>
          </p:nvPr>
        </p:nvSpPr>
        <p:spPr bwMode="auto">
          <a:xfrm>
            <a:off x="3343275" y="4629150"/>
            <a:ext cx="7493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6AD8E2E-F1D9-4E3C-97B1-C80A837A811D}" type="datetime'Mi''s''c'''''''''''''''''''' Ch''''''''ar''''''''g''''es'''">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Misc Charges</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Szöveg helye 2">
            <a:extLst>
              <a:ext uri="{FF2B5EF4-FFF2-40B4-BE49-F238E27FC236}">
                <a16:creationId xmlns:a16="http://schemas.microsoft.com/office/drawing/2014/main" id="{6BC610D1-575F-ECF6-2183-D2E011BBF205}"/>
              </a:ext>
            </a:extLst>
          </p:cNvPr>
          <p:cNvSpPr>
            <a:spLocks noGrp="1"/>
          </p:cNvSpPr>
          <p:nvPr>
            <p:custDataLst>
              <p:tags r:id="rId16"/>
            </p:custDataLst>
          </p:nvPr>
        </p:nvSpPr>
        <p:spPr bwMode="auto">
          <a:xfrm>
            <a:off x="3408363" y="4886325"/>
            <a:ext cx="6842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CC2633-1CF9-49C7-92CF-4766D18B9290}" type="datetime'T''a''''x ''''A''''''''m''''''''''o''''''u''n''''t'''''''">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Tax Amount</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Szöveg helye 2">
            <a:extLst>
              <a:ext uri="{FF2B5EF4-FFF2-40B4-BE49-F238E27FC236}">
                <a16:creationId xmlns:a16="http://schemas.microsoft.com/office/drawing/2014/main" id="{6BC610D1-575F-ECF6-2183-D2E011BBF205}"/>
              </a:ext>
            </a:extLst>
          </p:cNvPr>
          <p:cNvSpPr>
            <a:spLocks noGrp="1"/>
          </p:cNvSpPr>
          <p:nvPr>
            <p:custDataLst>
              <p:tags r:id="rId17"/>
            </p:custDataLst>
          </p:nvPr>
        </p:nvSpPr>
        <p:spPr bwMode="auto">
          <a:xfrm>
            <a:off x="3516313" y="5143500"/>
            <a:ext cx="576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FE27B8-CB63-453F-B19D-6D5AD2AD372A}" type="datetime'''''V''''e''''''''n''d''''o''r'''''''''' ''''ID'''''''''''''">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Vendor ID</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 name="Szöveg helye 2">
            <a:extLst>
              <a:ext uri="{FF2B5EF4-FFF2-40B4-BE49-F238E27FC236}">
                <a16:creationId xmlns:a16="http://schemas.microsoft.com/office/drawing/2014/main" id="{8053E561-074D-79AD-F9C4-A95A7F23A59B}"/>
              </a:ext>
            </a:extLst>
          </p:cNvPr>
          <p:cNvSpPr>
            <a:spLocks noGrp="1"/>
          </p:cNvSpPr>
          <p:nvPr>
            <p:custDataLst>
              <p:tags r:id="rId18"/>
            </p:custDataLst>
          </p:nvPr>
        </p:nvSpPr>
        <p:spPr bwMode="auto">
          <a:xfrm>
            <a:off x="3716338" y="5400675"/>
            <a:ext cx="376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DB5D84-DFAD-401E-AE40-1C22F11B2EB6}" type="datetime'''''''''''G''''i''''f''''''''''''''''''''t'''''''''' ID'''">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Gift ID</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Szöveg helye 2">
            <a:extLst>
              <a:ext uri="{FF2B5EF4-FFF2-40B4-BE49-F238E27FC236}">
                <a16:creationId xmlns:a16="http://schemas.microsoft.com/office/drawing/2014/main" id="{1A0599A5-8863-9E06-20A0-665C879C2673}"/>
              </a:ext>
            </a:extLst>
          </p:cNvPr>
          <p:cNvSpPr>
            <a:spLocks noGrp="1"/>
          </p:cNvSpPr>
          <p:nvPr>
            <p:custDataLst>
              <p:tags r:id="rId19"/>
            </p:custDataLst>
          </p:nvPr>
        </p:nvSpPr>
        <p:spPr bwMode="auto">
          <a:xfrm>
            <a:off x="3262313" y="5659438"/>
            <a:ext cx="830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E38FC8-9434-4D19-94CB-623ED8A4A826}" type="datetime'''''''''''Busin''''''''es''s M''''eal'' '''''''">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Business Meal </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5" name="Szöveg helye 2">
            <a:extLst>
              <a:ext uri="{FF2B5EF4-FFF2-40B4-BE49-F238E27FC236}">
                <a16:creationId xmlns:a16="http://schemas.microsoft.com/office/drawing/2014/main" id="{6BC610D1-575F-ECF6-2183-D2E011BBF205}"/>
              </a:ext>
            </a:extLst>
          </p:cNvPr>
          <p:cNvSpPr>
            <a:spLocks noGrp="1"/>
          </p:cNvSpPr>
          <p:nvPr>
            <p:custDataLst>
              <p:tags r:id="rId20"/>
            </p:custDataLst>
          </p:nvPr>
        </p:nvSpPr>
        <p:spPr bwMode="auto">
          <a:xfrm>
            <a:off x="5673725" y="6124575"/>
            <a:ext cx="279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000">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Ø </a:t>
            </a:r>
            <a:fld id="{C6E2B05B-2370-4C42-9FE0-2173857291A8}" type="datetime'''''''''''''''''''''''''''''''95'''''">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ctr">
                <a:spcBef>
                  <a:spcPct val="0"/>
                </a:spcBef>
                <a:spcAft>
                  <a:spcPct val="0"/>
                </a:spcAft>
                <a:buNone/>
              </a:pPr>
              <a:t>95</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aphicFrame>
        <p:nvGraphicFramePr>
          <p:cNvPr id="119" name="Chart 118">
            <a:extLst>
              <a:ext uri="{FF2B5EF4-FFF2-40B4-BE49-F238E27FC236}">
                <a16:creationId xmlns:a16="http://schemas.microsoft.com/office/drawing/2014/main" id="{2D5A118B-BDAA-425A-84B5-197F56DDE36D}"/>
              </a:ext>
            </a:extLst>
          </p:cNvPr>
          <p:cNvGraphicFramePr/>
          <p:nvPr>
            <p:custDataLst>
              <p:tags r:id="rId21"/>
            </p:custDataLst>
          </p:nvPr>
        </p:nvGraphicFramePr>
        <p:xfrm>
          <a:off x="8420100" y="3060700"/>
          <a:ext cx="2112963" cy="1417638"/>
        </p:xfrm>
        <a:graphic>
          <a:graphicData uri="http://schemas.openxmlformats.org/drawingml/2006/chart">
            <c:chart xmlns:c="http://schemas.openxmlformats.org/drawingml/2006/chart" xmlns:r="http://schemas.openxmlformats.org/officeDocument/2006/relationships" r:id="rId28"/>
          </a:graphicData>
        </a:graphic>
      </p:graphicFrame>
      <p:sp>
        <p:nvSpPr>
          <p:cNvPr id="176" name="Textplatzhalter 2">
            <a:extLst>
              <a:ext uri="{FF2B5EF4-FFF2-40B4-BE49-F238E27FC236}">
                <a16:creationId xmlns:a16="http://schemas.microsoft.com/office/drawing/2014/main" id="{53646026-D5BD-427B-BB82-1D999EE2B074}"/>
              </a:ext>
            </a:extLst>
          </p:cNvPr>
          <p:cNvSpPr>
            <a:spLocks noGrp="1"/>
          </p:cNvSpPr>
          <p:nvPr>
            <p:custDataLst>
              <p:tags r:id="rId22"/>
            </p:custDataLst>
          </p:nvPr>
        </p:nvSpPr>
        <p:spPr bwMode="auto">
          <a:xfrm>
            <a:off x="8597900" y="4295775"/>
            <a:ext cx="7826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8051C96-2032-4A51-9264-4FD74756E967}" type="datetime'''''H''''y'''' ''P''''''O''V m''''''''''''od''''''''el '''''">
              <a:rPr lang="en-US" altLang="en-US" sz="1000" smtClean="0">
                <a:solidFill>
                  <a:srgbClr val="000000"/>
                </a:solidFill>
                <a:latin typeface="Open Sauce One" panose="020B0604020202020204"/>
              </a:rPr>
              <a:pPr marL="0" lvl="0" indent="0" algn="ctr">
                <a:spcBef>
                  <a:spcPct val="0"/>
                </a:spcBef>
                <a:spcAft>
                  <a:spcPct val="0"/>
                </a:spcAft>
                <a:buNone/>
                <a:defRPr/>
              </a:pPr>
              <a:t>Hy POV model </a:t>
            </a:fld>
            <a:endPar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endParaRPr>
          </a:p>
        </p:txBody>
      </p:sp>
      <p:sp>
        <p:nvSpPr>
          <p:cNvPr id="177" name="Textplatzhalter 2">
            <a:extLst>
              <a:ext uri="{FF2B5EF4-FFF2-40B4-BE49-F238E27FC236}">
                <a16:creationId xmlns:a16="http://schemas.microsoft.com/office/drawing/2014/main" id="{94868B19-2A17-409E-A2B4-298EBEA5A0D0}"/>
              </a:ext>
            </a:extLst>
          </p:cNvPr>
          <p:cNvSpPr>
            <a:spLocks noGrp="1"/>
          </p:cNvSpPr>
          <p:nvPr>
            <p:custDataLst>
              <p:tags r:id="rId23"/>
            </p:custDataLst>
          </p:nvPr>
        </p:nvSpPr>
        <p:spPr bwMode="auto">
          <a:xfrm>
            <a:off x="9599613" y="4295775"/>
            <a:ext cx="7286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B391BE0-1DE4-4159-B1B5-23F3ECCCAFD9}" type="datetime'''TP''''''''''M''G ''''''''''''''t''''''r''a''''''''in''ed'''">
              <a:rPr lang="en-US" altLang="en-US" sz="1000" smtClean="0">
                <a:solidFill>
                  <a:srgbClr val="000000"/>
                </a:solidFill>
                <a:latin typeface="Open Sauce One" panose="020B0604020202020204"/>
              </a:rPr>
              <a:pPr marL="0" lvl="0" indent="0" algn="ctr">
                <a:spcBef>
                  <a:spcPct val="0"/>
                </a:spcBef>
                <a:spcAft>
                  <a:spcPct val="0"/>
                </a:spcAft>
                <a:buNone/>
                <a:defRPr/>
              </a:pPr>
              <a:t>TPMG trained</a:t>
            </a:fld>
            <a:endPar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endParaRPr>
          </a:p>
        </p:txBody>
      </p:sp>
      <p:sp>
        <p:nvSpPr>
          <p:cNvPr id="50" name="Lekerekített téglalap 20">
            <a:extLst>
              <a:ext uri="{FF2B5EF4-FFF2-40B4-BE49-F238E27FC236}">
                <a16:creationId xmlns:a16="http://schemas.microsoft.com/office/drawing/2014/main" id="{24F2D7C4-C532-4870-ABEB-1FF91693D4AF}"/>
              </a:ext>
            </a:extLst>
          </p:cNvPr>
          <p:cNvSpPr/>
          <p:nvPr/>
        </p:nvSpPr>
        <p:spPr>
          <a:xfrm>
            <a:off x="10175925" y="428335"/>
            <a:ext cx="1573161" cy="346234"/>
          </a:xfrm>
          <a:prstGeom prst="roundRect">
            <a:avLst>
              <a:gd name="adj" fmla="val 50000"/>
            </a:avLst>
          </a:prstGeom>
          <a:no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en-US" sz="1000">
                <a:solidFill>
                  <a:schemeClr val="tx2"/>
                </a:solidFill>
                <a:latin typeface="Open Sauce One" pitchFamily="2" charset="0"/>
              </a:rPr>
              <a:t>Capturing Quality </a:t>
            </a:r>
            <a:endParaRPr lang="en-GB" sz="1000">
              <a:solidFill>
                <a:schemeClr val="tx2"/>
              </a:solidFill>
              <a:latin typeface="Open Sauce One" pitchFamily="2" charset="0"/>
            </a:endParaRPr>
          </a:p>
        </p:txBody>
      </p:sp>
      <p:sp>
        <p:nvSpPr>
          <p:cNvPr id="52" name="Lekerekített téglalap 5">
            <a:extLst>
              <a:ext uri="{FF2B5EF4-FFF2-40B4-BE49-F238E27FC236}">
                <a16:creationId xmlns:a16="http://schemas.microsoft.com/office/drawing/2014/main" id="{4B2D0DFB-03E2-4696-9D10-D774772F7067}"/>
              </a:ext>
            </a:extLst>
          </p:cNvPr>
          <p:cNvSpPr/>
          <p:nvPr/>
        </p:nvSpPr>
        <p:spPr>
          <a:xfrm>
            <a:off x="604911" y="1943918"/>
            <a:ext cx="1617784" cy="372346"/>
          </a:xfrm>
          <a:prstGeom prst="roundRect">
            <a:avLst>
              <a:gd name="adj" fmla="val 50000"/>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Open Sauce One" pitchFamily="2" charset="0"/>
              </a:rPr>
              <a:t>Hypothesis 1</a:t>
            </a:r>
          </a:p>
        </p:txBody>
      </p:sp>
      <p:sp>
        <p:nvSpPr>
          <p:cNvPr id="53" name="TextBox 52">
            <a:extLst>
              <a:ext uri="{FF2B5EF4-FFF2-40B4-BE49-F238E27FC236}">
                <a16:creationId xmlns:a16="http://schemas.microsoft.com/office/drawing/2014/main" id="{5D7EC723-B586-4470-A55A-1EAC7DE3F919}"/>
              </a:ext>
            </a:extLst>
          </p:cNvPr>
          <p:cNvSpPr txBox="1"/>
          <p:nvPr/>
        </p:nvSpPr>
        <p:spPr>
          <a:xfrm>
            <a:off x="3312313" y="2502663"/>
            <a:ext cx="3802825" cy="461665"/>
          </a:xfrm>
          <a:prstGeom prst="rect">
            <a:avLst/>
          </a:prstGeom>
          <a:noFill/>
        </p:spPr>
        <p:txBody>
          <a:bodyPr wrap="square">
            <a:spAutoFit/>
          </a:bodyPr>
          <a:lstStyle/>
          <a:p>
            <a:r>
              <a:rPr lang="en-US" sz="1200" b="1">
                <a:latin typeface="Open Sauce One" pitchFamily="2" charset="0"/>
              </a:rPr>
              <a:t>Capturing Results</a:t>
            </a:r>
          </a:p>
          <a:p>
            <a:r>
              <a:rPr lang="en-US" sz="1200">
                <a:latin typeface="Open Sauce One" pitchFamily="2" charset="0"/>
              </a:rPr>
              <a:t>% accurate automation results</a:t>
            </a:r>
          </a:p>
        </p:txBody>
      </p:sp>
      <p:sp>
        <p:nvSpPr>
          <p:cNvPr id="54" name="TextBox 53">
            <a:extLst>
              <a:ext uri="{FF2B5EF4-FFF2-40B4-BE49-F238E27FC236}">
                <a16:creationId xmlns:a16="http://schemas.microsoft.com/office/drawing/2014/main" id="{8FD47743-7B72-4035-9075-CB7367824CE4}"/>
              </a:ext>
            </a:extLst>
          </p:cNvPr>
          <p:cNvSpPr txBox="1"/>
          <p:nvPr/>
        </p:nvSpPr>
        <p:spPr>
          <a:xfrm>
            <a:off x="7571231" y="2502663"/>
            <a:ext cx="3493844" cy="461665"/>
          </a:xfrm>
          <a:prstGeom prst="rect">
            <a:avLst/>
          </a:prstGeom>
          <a:noFill/>
        </p:spPr>
        <p:txBody>
          <a:bodyPr wrap="square">
            <a:spAutoFit/>
          </a:bodyPr>
          <a:lstStyle/>
          <a:p>
            <a:r>
              <a:rPr lang="en-US" sz="1200" b="1">
                <a:latin typeface="Open Sauce One" pitchFamily="2" charset="0"/>
              </a:rPr>
              <a:t>Observed and expected pass-through rates on document level </a:t>
            </a:r>
            <a:r>
              <a:rPr lang="en-US" sz="1200">
                <a:latin typeface="Open Sauce One" pitchFamily="2" charset="0"/>
              </a:rPr>
              <a:t>(in %)</a:t>
            </a:r>
          </a:p>
        </p:txBody>
      </p:sp>
      <p:cxnSp>
        <p:nvCxnSpPr>
          <p:cNvPr id="55" name="Straight Connector 54">
            <a:extLst>
              <a:ext uri="{FF2B5EF4-FFF2-40B4-BE49-F238E27FC236}">
                <a16:creationId xmlns:a16="http://schemas.microsoft.com/office/drawing/2014/main" id="{E3ED99CD-D6EE-4DD1-AF3C-5B6C9DD185D8}"/>
              </a:ext>
            </a:extLst>
          </p:cNvPr>
          <p:cNvCxnSpPr>
            <a:cxnSpLocks/>
          </p:cNvCxnSpPr>
          <p:nvPr/>
        </p:nvCxnSpPr>
        <p:spPr>
          <a:xfrm>
            <a:off x="7130319" y="2502663"/>
            <a:ext cx="0" cy="339187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6" name="Isosceles Triangle 55">
            <a:extLst>
              <a:ext uri="{FF2B5EF4-FFF2-40B4-BE49-F238E27FC236}">
                <a16:creationId xmlns:a16="http://schemas.microsoft.com/office/drawing/2014/main" id="{D113C61A-4B94-4388-B58C-47E4DD003B60}"/>
              </a:ext>
            </a:extLst>
          </p:cNvPr>
          <p:cNvSpPr/>
          <p:nvPr/>
        </p:nvSpPr>
        <p:spPr>
          <a:xfrm rot="5400000">
            <a:off x="7116541" y="4054685"/>
            <a:ext cx="210702" cy="183146"/>
          </a:xfrm>
          <a:prstGeom prst="triangl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Open Sauce One" pitchFamily="2" charset="0"/>
              <a:ea typeface="+mn-ea"/>
              <a:cs typeface="+mn-cs"/>
            </a:endParaRPr>
          </a:p>
        </p:txBody>
      </p:sp>
      <p:sp>
        <p:nvSpPr>
          <p:cNvPr id="78" name="Rectangle: Rounded Corners 77">
            <a:extLst>
              <a:ext uri="{FF2B5EF4-FFF2-40B4-BE49-F238E27FC236}">
                <a16:creationId xmlns:a16="http://schemas.microsoft.com/office/drawing/2014/main" id="{A8859266-1F16-4BCB-85E6-AF14E7CD79FC}"/>
              </a:ext>
            </a:extLst>
          </p:cNvPr>
          <p:cNvSpPr/>
          <p:nvPr/>
        </p:nvSpPr>
        <p:spPr>
          <a:xfrm>
            <a:off x="6302630" y="3111542"/>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365</a:t>
            </a:r>
          </a:p>
        </p:txBody>
      </p:sp>
      <p:sp>
        <p:nvSpPr>
          <p:cNvPr id="79" name="Rectangle: Rounded Corners 78">
            <a:extLst>
              <a:ext uri="{FF2B5EF4-FFF2-40B4-BE49-F238E27FC236}">
                <a16:creationId xmlns:a16="http://schemas.microsoft.com/office/drawing/2014/main" id="{40C9C3A9-D62B-432C-9B3F-4C44D5327BA3}"/>
              </a:ext>
            </a:extLst>
          </p:cNvPr>
          <p:cNvSpPr/>
          <p:nvPr/>
        </p:nvSpPr>
        <p:spPr>
          <a:xfrm>
            <a:off x="6302630" y="3340100"/>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14</a:t>
            </a:r>
          </a:p>
        </p:txBody>
      </p:sp>
      <p:sp>
        <p:nvSpPr>
          <p:cNvPr id="80" name="Rectangle: Rounded Corners 79">
            <a:extLst>
              <a:ext uri="{FF2B5EF4-FFF2-40B4-BE49-F238E27FC236}">
                <a16:creationId xmlns:a16="http://schemas.microsoft.com/office/drawing/2014/main" id="{39D1522A-3A07-40A5-B77A-DAED9181CF7E}"/>
              </a:ext>
            </a:extLst>
          </p:cNvPr>
          <p:cNvSpPr/>
          <p:nvPr/>
        </p:nvSpPr>
        <p:spPr>
          <a:xfrm>
            <a:off x="6302630" y="3609203"/>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39</a:t>
            </a:r>
          </a:p>
        </p:txBody>
      </p:sp>
      <p:sp>
        <p:nvSpPr>
          <p:cNvPr id="81" name="Rectangle: Rounded Corners 80">
            <a:extLst>
              <a:ext uri="{FF2B5EF4-FFF2-40B4-BE49-F238E27FC236}">
                <a16:creationId xmlns:a16="http://schemas.microsoft.com/office/drawing/2014/main" id="{4F4FD238-5C38-4227-B0D0-B6A83AEE6F9A}"/>
              </a:ext>
            </a:extLst>
          </p:cNvPr>
          <p:cNvSpPr/>
          <p:nvPr/>
        </p:nvSpPr>
        <p:spPr>
          <a:xfrm>
            <a:off x="6299572" y="3877864"/>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39</a:t>
            </a:r>
          </a:p>
        </p:txBody>
      </p:sp>
      <p:sp>
        <p:nvSpPr>
          <p:cNvPr id="82" name="Rectangle: Rounded Corners 81">
            <a:extLst>
              <a:ext uri="{FF2B5EF4-FFF2-40B4-BE49-F238E27FC236}">
                <a16:creationId xmlns:a16="http://schemas.microsoft.com/office/drawing/2014/main" id="{C2E8AD4C-CE43-4AA6-9BA0-B815BE50781D}"/>
              </a:ext>
            </a:extLst>
          </p:cNvPr>
          <p:cNvSpPr/>
          <p:nvPr/>
        </p:nvSpPr>
        <p:spPr>
          <a:xfrm>
            <a:off x="6297650" y="4131430"/>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23</a:t>
            </a:r>
          </a:p>
        </p:txBody>
      </p:sp>
      <p:sp>
        <p:nvSpPr>
          <p:cNvPr id="83" name="Rectangle: Rounded Corners 82">
            <a:extLst>
              <a:ext uri="{FF2B5EF4-FFF2-40B4-BE49-F238E27FC236}">
                <a16:creationId xmlns:a16="http://schemas.microsoft.com/office/drawing/2014/main" id="{52EF70AE-1DE8-44FB-83B6-C97B9E5E4ADF}"/>
              </a:ext>
            </a:extLst>
          </p:cNvPr>
          <p:cNvSpPr/>
          <p:nvPr/>
        </p:nvSpPr>
        <p:spPr>
          <a:xfrm>
            <a:off x="6294680" y="4651204"/>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78</a:t>
            </a:r>
          </a:p>
        </p:txBody>
      </p:sp>
      <p:sp>
        <p:nvSpPr>
          <p:cNvPr id="84" name="Rectangle: Rounded Corners 83">
            <a:extLst>
              <a:ext uri="{FF2B5EF4-FFF2-40B4-BE49-F238E27FC236}">
                <a16:creationId xmlns:a16="http://schemas.microsoft.com/office/drawing/2014/main" id="{7C33D44A-944A-4956-B85A-38DAF1DD0350}"/>
              </a:ext>
            </a:extLst>
          </p:cNvPr>
          <p:cNvSpPr/>
          <p:nvPr/>
        </p:nvSpPr>
        <p:spPr>
          <a:xfrm>
            <a:off x="6302537" y="4919865"/>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162</a:t>
            </a:r>
          </a:p>
        </p:txBody>
      </p:sp>
      <p:sp>
        <p:nvSpPr>
          <p:cNvPr id="85" name="Rectangle: Rounded Corners 84">
            <a:extLst>
              <a:ext uri="{FF2B5EF4-FFF2-40B4-BE49-F238E27FC236}">
                <a16:creationId xmlns:a16="http://schemas.microsoft.com/office/drawing/2014/main" id="{4A24A518-53DB-4D15-9F93-937B9056162A}"/>
              </a:ext>
            </a:extLst>
          </p:cNvPr>
          <p:cNvSpPr/>
          <p:nvPr/>
        </p:nvSpPr>
        <p:spPr>
          <a:xfrm>
            <a:off x="6294680" y="5172117"/>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77</a:t>
            </a:r>
          </a:p>
        </p:txBody>
      </p:sp>
      <p:sp>
        <p:nvSpPr>
          <p:cNvPr id="87" name="TextBox 86">
            <a:extLst>
              <a:ext uri="{FF2B5EF4-FFF2-40B4-BE49-F238E27FC236}">
                <a16:creationId xmlns:a16="http://schemas.microsoft.com/office/drawing/2014/main" id="{09E59149-9944-4557-BB84-61D11D972AA8}"/>
              </a:ext>
            </a:extLst>
          </p:cNvPr>
          <p:cNvSpPr txBox="1"/>
          <p:nvPr/>
        </p:nvSpPr>
        <p:spPr>
          <a:xfrm>
            <a:off x="5514314" y="2889080"/>
            <a:ext cx="1874825" cy="215444"/>
          </a:xfrm>
          <a:prstGeom prst="rect">
            <a:avLst/>
          </a:prstGeom>
          <a:noFill/>
        </p:spPr>
        <p:txBody>
          <a:bodyPr wrap="square">
            <a:spAutoFit/>
          </a:bodyPr>
          <a:lstStyle/>
          <a:p>
            <a:pPr algn="ctr"/>
            <a:r>
              <a:rPr lang="en-US" sz="800">
                <a:solidFill>
                  <a:schemeClr val="bg1">
                    <a:lumMod val="50000"/>
                  </a:schemeClr>
                </a:solidFill>
                <a:latin typeface="Open Sauce One" pitchFamily="2" charset="0"/>
              </a:rPr>
              <a:t>Testing Documents</a:t>
            </a:r>
          </a:p>
        </p:txBody>
      </p:sp>
      <p:sp>
        <p:nvSpPr>
          <p:cNvPr id="88" name="Rectangle 241">
            <a:extLst>
              <a:ext uri="{FF2B5EF4-FFF2-40B4-BE49-F238E27FC236}">
                <a16:creationId xmlns:a16="http://schemas.microsoft.com/office/drawing/2014/main" id="{83D1E047-8DAB-426C-8F16-9B346834FE16}"/>
              </a:ext>
            </a:extLst>
          </p:cNvPr>
          <p:cNvSpPr/>
          <p:nvPr/>
        </p:nvSpPr>
        <p:spPr>
          <a:xfrm>
            <a:off x="7499768" y="4675447"/>
            <a:ext cx="3750965" cy="11724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a:solidFill>
                  <a:schemeClr val="accent4"/>
                </a:solidFill>
                <a:latin typeface="Open Sauce One" panose="020B0604020202020204"/>
              </a:rPr>
              <a:t>Comments</a:t>
            </a:r>
          </a:p>
          <a:p>
            <a:endParaRPr lang="en-GB" sz="1000" b="1">
              <a:solidFill>
                <a:schemeClr val="accent4"/>
              </a:solidFill>
              <a:latin typeface="Open Sauce One" panose="020B0604020202020204"/>
            </a:endParaRPr>
          </a:p>
          <a:p>
            <a:pPr marL="136525" indent="-136525">
              <a:buFont typeface="Arial" panose="020B0604020202020204" pitchFamily="34" charset="0"/>
              <a:buChar char="•"/>
            </a:pPr>
            <a:endParaRPr lang="en-GB" sz="900">
              <a:solidFill>
                <a:schemeClr val="bg1">
                  <a:lumMod val="50000"/>
                </a:schemeClr>
              </a:solidFill>
              <a:latin typeface="Open Sauce One" panose="020B0604020202020204"/>
            </a:endParaRPr>
          </a:p>
        </p:txBody>
      </p:sp>
      <p:cxnSp>
        <p:nvCxnSpPr>
          <p:cNvPr id="89" name="Egyenes összekötő 14">
            <a:extLst>
              <a:ext uri="{FF2B5EF4-FFF2-40B4-BE49-F238E27FC236}">
                <a16:creationId xmlns:a16="http://schemas.microsoft.com/office/drawing/2014/main" id="{C4B793E5-9499-4655-94C0-EAEE3614E21A}"/>
              </a:ext>
            </a:extLst>
          </p:cNvPr>
          <p:cNvCxnSpPr>
            <a:cxnSpLocks/>
          </p:cNvCxnSpPr>
          <p:nvPr/>
        </p:nvCxnSpPr>
        <p:spPr>
          <a:xfrm flipH="1">
            <a:off x="7603271" y="4595935"/>
            <a:ext cx="3647467"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Lekerekített téglalap 6">
            <a:extLst>
              <a:ext uri="{FF2B5EF4-FFF2-40B4-BE49-F238E27FC236}">
                <a16:creationId xmlns:a16="http://schemas.microsoft.com/office/drawing/2014/main" id="{18D88B44-B46B-86F2-8068-83C04A7797C8}"/>
              </a:ext>
            </a:extLst>
          </p:cNvPr>
          <p:cNvSpPr/>
          <p:nvPr/>
        </p:nvSpPr>
        <p:spPr>
          <a:xfrm>
            <a:off x="3314927" y="1945283"/>
            <a:ext cx="1624308" cy="372346"/>
          </a:xfrm>
          <a:prstGeom prst="roundRect">
            <a:avLst>
              <a:gd name="adj" fmla="val 50000"/>
            </a:avLst>
          </a:prstGeom>
          <a:solidFill>
            <a:srgbClr val="AEE7D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030436"/>
                </a:solidFill>
                <a:latin typeface="Open Sauce One"/>
              </a:rPr>
              <a:t>Results</a:t>
            </a:r>
          </a:p>
        </p:txBody>
      </p:sp>
      <p:sp>
        <p:nvSpPr>
          <p:cNvPr id="114" name="Rectangle: Rounded Corners 113">
            <a:extLst>
              <a:ext uri="{FF2B5EF4-FFF2-40B4-BE49-F238E27FC236}">
                <a16:creationId xmlns:a16="http://schemas.microsoft.com/office/drawing/2014/main" id="{62774A16-409C-4CC8-A691-88024FA750FD}"/>
              </a:ext>
            </a:extLst>
          </p:cNvPr>
          <p:cNvSpPr/>
          <p:nvPr/>
        </p:nvSpPr>
        <p:spPr>
          <a:xfrm>
            <a:off x="6302630" y="4376391"/>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13</a:t>
            </a:r>
          </a:p>
        </p:txBody>
      </p:sp>
      <p:sp>
        <p:nvSpPr>
          <p:cNvPr id="111" name="Rectangle: Rounded Corners 110">
            <a:extLst>
              <a:ext uri="{FF2B5EF4-FFF2-40B4-BE49-F238E27FC236}">
                <a16:creationId xmlns:a16="http://schemas.microsoft.com/office/drawing/2014/main" id="{CB856D96-D552-4933-B007-E83B8BA041E9}"/>
              </a:ext>
            </a:extLst>
          </p:cNvPr>
          <p:cNvSpPr/>
          <p:nvPr/>
        </p:nvSpPr>
        <p:spPr>
          <a:xfrm>
            <a:off x="6294680" y="5424369"/>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5</a:t>
            </a:r>
          </a:p>
        </p:txBody>
      </p:sp>
      <p:sp>
        <p:nvSpPr>
          <p:cNvPr id="112" name="Rectangle: Rounded Corners 111">
            <a:extLst>
              <a:ext uri="{FF2B5EF4-FFF2-40B4-BE49-F238E27FC236}">
                <a16:creationId xmlns:a16="http://schemas.microsoft.com/office/drawing/2014/main" id="{7875DEB6-127C-E1B0-BC09-5D6A7ED5A2AA}"/>
              </a:ext>
            </a:extLst>
          </p:cNvPr>
          <p:cNvSpPr/>
          <p:nvPr/>
        </p:nvSpPr>
        <p:spPr>
          <a:xfrm>
            <a:off x="6295049" y="5691721"/>
            <a:ext cx="29837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925</a:t>
            </a:r>
          </a:p>
        </p:txBody>
      </p:sp>
    </p:spTree>
    <p:extLst>
      <p:ext uri="{BB962C8B-B14F-4D97-AF65-F5344CB8AC3E}">
        <p14:creationId xmlns:p14="http://schemas.microsoft.com/office/powerpoint/2010/main" val="28353744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E8A96F4-6AE0-42A5-A3F3-A38A5A292D90}"/>
              </a:ext>
            </a:extLst>
          </p:cNvPr>
          <p:cNvGraphicFramePr>
            <a:graphicFrameLocks noChangeAspect="1"/>
          </p:cNvGraphicFramePr>
          <p:nvPr>
            <p:custDataLst>
              <p:tags r:id="rId1"/>
            </p:custDataLst>
            <p:extLst>
              <p:ext uri="{D42A27DB-BD31-4B8C-83A1-F6EECF244321}">
                <p14:modId xmlns:p14="http://schemas.microsoft.com/office/powerpoint/2010/main" val="2427884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8" name="think-cell data - do not delete" hidden="1">
                        <a:extLst>
                          <a:ext uri="{FF2B5EF4-FFF2-40B4-BE49-F238E27FC236}">
                            <a16:creationId xmlns:a16="http://schemas.microsoft.com/office/drawing/2014/main" id="{DE8A96F4-6AE0-42A5-A3F3-A38A5A292D90}"/>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7" name="Lekerekített téglalap 4">
            <a:extLst>
              <a:ext uri="{FF2B5EF4-FFF2-40B4-BE49-F238E27FC236}">
                <a16:creationId xmlns:a16="http://schemas.microsoft.com/office/drawing/2014/main" id="{28BC0EE5-A0BF-4C58-9161-FF722A7747DA}"/>
              </a:ext>
            </a:extLst>
          </p:cNvPr>
          <p:cNvSpPr>
            <a:spLocks/>
          </p:cNvSpPr>
          <p:nvPr/>
        </p:nvSpPr>
        <p:spPr>
          <a:xfrm>
            <a:off x="2849218" y="2158126"/>
            <a:ext cx="8914447" cy="4171355"/>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Open Sauce One" pitchFamily="2" charset="0"/>
              <a:ea typeface="+mn-ea"/>
              <a:cs typeface="+mn-cs"/>
            </a:endParaRPr>
          </a:p>
        </p:txBody>
      </p:sp>
      <p:sp>
        <p:nvSpPr>
          <p:cNvPr id="2" name="Cím 1">
            <a:extLst>
              <a:ext uri="{FF2B5EF4-FFF2-40B4-BE49-F238E27FC236}">
                <a16:creationId xmlns:a16="http://schemas.microsoft.com/office/drawing/2014/main" id="{E5488EFF-CBEA-80E6-3982-C78BD5B50047}"/>
              </a:ext>
            </a:extLst>
          </p:cNvPr>
          <p:cNvSpPr>
            <a:spLocks noGrp="1"/>
          </p:cNvSpPr>
          <p:nvPr>
            <p:ph type="title"/>
          </p:nvPr>
        </p:nvSpPr>
        <p:spPr>
          <a:xfrm>
            <a:off x="407988" y="963466"/>
            <a:ext cx="11341100" cy="830997"/>
          </a:xfrm>
        </p:spPr>
        <p:txBody>
          <a:bodyPr vert="horz"/>
          <a:lstStyle/>
          <a:p>
            <a:r>
              <a:rPr lang="en-US" sz="2400"/>
              <a:t>Achieving &gt;80% PO Line item data capture accuracy for incoming invoices without manual verification (Pilot Scope)</a:t>
            </a:r>
          </a:p>
        </p:txBody>
      </p:sp>
      <p:sp>
        <p:nvSpPr>
          <p:cNvPr id="4" name="Dia számának helye 3">
            <a:extLst>
              <a:ext uri="{FF2B5EF4-FFF2-40B4-BE49-F238E27FC236}">
                <a16:creationId xmlns:a16="http://schemas.microsoft.com/office/drawing/2014/main" id="{A0139F03-1DAC-25D3-850E-887054A401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2D668-955E-AB45-9B4E-D4D3490B1261}" type="slidenum">
              <a:rPr kumimoji="0" lang="en-US" sz="1000" b="0" i="0" u="none" strike="noStrike" kern="1200" cap="none" spc="0" normalizeH="0" baseline="0" noProof="0" smtClean="0">
                <a:ln>
                  <a:noFill/>
                </a:ln>
                <a:solidFill>
                  <a:srgbClr val="FFFFFF">
                    <a:lumMod val="50000"/>
                  </a:srgbClr>
                </a:solidFill>
                <a:effectLst/>
                <a:uLnTx/>
                <a:uFillTx/>
                <a:latin typeface="Open Sauce On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FFFFFF">
                  <a:lumMod val="50000"/>
                </a:srgbClr>
              </a:solidFill>
              <a:effectLst/>
              <a:uLnTx/>
              <a:uFillTx/>
              <a:latin typeface="Open Sauce One" pitchFamily="2" charset="0"/>
              <a:ea typeface="+mn-ea"/>
              <a:cs typeface="+mn-cs"/>
            </a:endParaRPr>
          </a:p>
        </p:txBody>
      </p:sp>
      <p:sp>
        <p:nvSpPr>
          <p:cNvPr id="5" name="Tartalom helye 4">
            <a:extLst>
              <a:ext uri="{FF2B5EF4-FFF2-40B4-BE49-F238E27FC236}">
                <a16:creationId xmlns:a16="http://schemas.microsoft.com/office/drawing/2014/main" id="{3DAF7342-BA0B-8740-DCF6-A65EA384405C}"/>
              </a:ext>
            </a:extLst>
          </p:cNvPr>
          <p:cNvSpPr>
            <a:spLocks noGrp="1"/>
          </p:cNvSpPr>
          <p:nvPr>
            <p:ph idx="13"/>
          </p:nvPr>
        </p:nvSpPr>
        <p:spPr/>
        <p:txBody>
          <a:bodyPr vert="horz" lIns="0" tIns="45720" rIns="91440" bIns="45720" rtlCol="0" anchor="t">
            <a:noAutofit/>
          </a:bodyPr>
          <a:lstStyle/>
          <a:p>
            <a:r>
              <a:rPr lang="en-US">
                <a:latin typeface="Open Sauce One"/>
              </a:rPr>
              <a:t>PO Line items Results Presentation </a:t>
            </a:r>
          </a:p>
          <a:p>
            <a:endParaRPr lang="en-US"/>
          </a:p>
        </p:txBody>
      </p:sp>
      <p:sp>
        <p:nvSpPr>
          <p:cNvPr id="22" name="Lekerekített téglalap 4">
            <a:extLst>
              <a:ext uri="{FF2B5EF4-FFF2-40B4-BE49-F238E27FC236}">
                <a16:creationId xmlns:a16="http://schemas.microsoft.com/office/drawing/2014/main" id="{7B142CC6-E85D-45F8-BA2B-CB9806188691}"/>
              </a:ext>
            </a:extLst>
          </p:cNvPr>
          <p:cNvSpPr/>
          <p:nvPr/>
        </p:nvSpPr>
        <p:spPr>
          <a:xfrm>
            <a:off x="407989" y="2127723"/>
            <a:ext cx="2348035" cy="4171355"/>
          </a:xfrm>
          <a:prstGeom prst="roundRect">
            <a:avLst>
              <a:gd name="adj" fmla="val 7297"/>
            </a:avLst>
          </a:prstGeom>
          <a:solidFill>
            <a:schemeClr val="bg2"/>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20000"/>
              </a:lnSpc>
            </a:pPr>
            <a:endParaRPr lang="en-US" sz="1400">
              <a:solidFill>
                <a:schemeClr val="tx1"/>
              </a:solidFill>
              <a:latin typeface="Open Sauce One" pitchFamily="2" charset="0"/>
            </a:endParaRPr>
          </a:p>
          <a:p>
            <a:pPr algn="ctr">
              <a:lnSpc>
                <a:spcPct val="120000"/>
              </a:lnSpc>
            </a:pPr>
            <a:r>
              <a:rPr kumimoji="0" lang="en-US" sz="1400" b="1" i="0" u="none" strike="noStrike" kern="1200" cap="none" spc="0" normalizeH="0" baseline="0" noProof="0">
                <a:ln>
                  <a:noFill/>
                </a:ln>
                <a:solidFill>
                  <a:schemeClr val="tx2"/>
                </a:solidFill>
                <a:effectLst/>
                <a:uLnTx/>
                <a:uFillTx/>
                <a:latin typeface="Open Sauce One" pitchFamily="2" charset="0"/>
                <a:ea typeface="+mn-ea"/>
                <a:cs typeface="+mn-cs"/>
              </a:rPr>
              <a:t>Key metric</a:t>
            </a:r>
          </a:p>
          <a:p>
            <a:pPr algn="ctr">
              <a:lnSpc>
                <a:spcPct val="120000"/>
              </a:lnSpc>
            </a:pPr>
            <a:endParaRPr lang="en-US" sz="1400">
              <a:solidFill>
                <a:schemeClr val="tx1"/>
              </a:solidFill>
              <a:latin typeface="Open Sauce One" pitchFamily="2" charset="0"/>
            </a:endParaRPr>
          </a:p>
          <a:p>
            <a:pPr algn="ctr">
              <a:lnSpc>
                <a:spcPct val="120000"/>
              </a:lnSpc>
            </a:pPr>
            <a:r>
              <a:rPr lang="en-US" sz="1400">
                <a:solidFill>
                  <a:schemeClr val="tx1"/>
                </a:solidFill>
                <a:latin typeface="Open Sauce One" pitchFamily="2" charset="0"/>
              </a:rPr>
              <a:t>The capture rate of item level data points of incoming invoices without manual verification can be increased to at least 80% on field level for documents within the training and testing scope.</a:t>
            </a:r>
          </a:p>
        </p:txBody>
      </p:sp>
      <p:graphicFrame>
        <p:nvGraphicFramePr>
          <p:cNvPr id="93" name="Chart 92">
            <a:extLst>
              <a:ext uri="{FF2B5EF4-FFF2-40B4-BE49-F238E27FC236}">
                <a16:creationId xmlns:a16="http://schemas.microsoft.com/office/drawing/2014/main" id="{D46361B0-118E-4716-A2AE-DFDBEDF0D1EC}"/>
              </a:ext>
            </a:extLst>
          </p:cNvPr>
          <p:cNvGraphicFramePr/>
          <p:nvPr>
            <p:custDataLst>
              <p:tags r:id="rId2"/>
            </p:custDataLst>
            <p:extLst>
              <p:ext uri="{D42A27DB-BD31-4B8C-83A1-F6EECF244321}">
                <p14:modId xmlns:p14="http://schemas.microsoft.com/office/powerpoint/2010/main" val="543518357"/>
              </p:ext>
            </p:extLst>
          </p:nvPr>
        </p:nvGraphicFramePr>
        <p:xfrm>
          <a:off x="4165600" y="3302000"/>
          <a:ext cx="2100263" cy="2359025"/>
        </p:xfrm>
        <a:graphic>
          <a:graphicData uri="http://schemas.openxmlformats.org/drawingml/2006/chart">
            <c:chart xmlns:c="http://schemas.openxmlformats.org/drawingml/2006/chart" xmlns:r="http://schemas.openxmlformats.org/officeDocument/2006/relationships" r:id="rId23"/>
          </a:graphicData>
        </a:graphic>
      </p:graphicFrame>
      <p:sp>
        <p:nvSpPr>
          <p:cNvPr id="64" name="Arrow: Right 63">
            <a:extLst>
              <a:ext uri="{FF2B5EF4-FFF2-40B4-BE49-F238E27FC236}">
                <a16:creationId xmlns:a16="http://schemas.microsoft.com/office/drawing/2014/main" id="{331A2D69-BBE3-AC9E-1451-72E4F285E50C}"/>
              </a:ext>
            </a:extLst>
          </p:cNvPr>
          <p:cNvSpPr/>
          <p:nvPr>
            <p:custDataLst>
              <p:tags r:id="rId3"/>
            </p:custDataLst>
          </p:nvPr>
        </p:nvSpPr>
        <p:spPr bwMode="auto">
          <a:xfrm rot="16200000">
            <a:off x="5716588" y="5616575"/>
            <a:ext cx="128588" cy="152400"/>
          </a:xfrm>
          <a:prstGeom prst="rightArrow">
            <a:avLst>
              <a:gd name="adj1" fmla="val 100000"/>
              <a:gd name="adj2" fmla="val 100000"/>
            </a:avLst>
          </a:prstGeom>
          <a:solidFill>
            <a:schemeClr val="tx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C0F91F34-AFF4-B7D8-1F80-32F9029BA043}"/>
              </a:ext>
            </a:extLst>
          </p:cNvPr>
          <p:cNvCxnSpPr/>
          <p:nvPr>
            <p:custDataLst>
              <p:tags r:id="rId4"/>
            </p:custDataLst>
          </p:nvPr>
        </p:nvCxnSpPr>
        <p:spPr bwMode="auto">
          <a:xfrm>
            <a:off x="5780088" y="3384551"/>
            <a:ext cx="0" cy="676275"/>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68F13749-0680-4D03-7AAA-F05A5A284205}"/>
              </a:ext>
            </a:extLst>
          </p:cNvPr>
          <p:cNvCxnSpPr/>
          <p:nvPr>
            <p:custDataLst>
              <p:tags r:id="rId5"/>
            </p:custDataLst>
          </p:nvPr>
        </p:nvCxnSpPr>
        <p:spPr bwMode="auto">
          <a:xfrm>
            <a:off x="5780088" y="4273550"/>
            <a:ext cx="0" cy="728663"/>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AA9AD8C5-6B81-CC9A-B4BE-3B40C3F24C9B}"/>
              </a:ext>
            </a:extLst>
          </p:cNvPr>
          <p:cNvCxnSpPr/>
          <p:nvPr>
            <p:custDataLst>
              <p:tags r:id="rId6"/>
            </p:custDataLst>
          </p:nvPr>
        </p:nvCxnSpPr>
        <p:spPr bwMode="auto">
          <a:xfrm>
            <a:off x="5780088" y="5214938"/>
            <a:ext cx="0" cy="100013"/>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8F3032D-3F51-7B7B-F44F-A4C3CF94EE18}"/>
              </a:ext>
            </a:extLst>
          </p:cNvPr>
          <p:cNvCxnSpPr/>
          <p:nvPr>
            <p:custDataLst>
              <p:tags r:id="rId7"/>
            </p:custDataLst>
          </p:nvPr>
        </p:nvCxnSpPr>
        <p:spPr bwMode="auto">
          <a:xfrm>
            <a:off x="5780088" y="5527675"/>
            <a:ext cx="0" cy="5080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Szöveg helye 2">
            <a:extLst>
              <a:ext uri="{FF2B5EF4-FFF2-40B4-BE49-F238E27FC236}">
                <a16:creationId xmlns:a16="http://schemas.microsoft.com/office/drawing/2014/main" id="{6BC610D1-575F-ECF6-2183-D2E011BBF205}"/>
              </a:ext>
            </a:extLst>
          </p:cNvPr>
          <p:cNvSpPr>
            <a:spLocks noGrp="1"/>
          </p:cNvSpPr>
          <p:nvPr>
            <p:custDataLst>
              <p:tags r:id="rId8"/>
            </p:custDataLst>
          </p:nvPr>
        </p:nvSpPr>
        <p:spPr bwMode="auto">
          <a:xfrm>
            <a:off x="3228975" y="3433763"/>
            <a:ext cx="9334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71C18BD-8C41-40BC-9A7C-623EF3BA5EE1}" type="datetime'''''''KP'' I''t''em ''N''''''''''''''um''''''''''''''be''r'''">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KP Item Number</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Szöveg helye 2">
            <a:extLst>
              <a:ext uri="{FF2B5EF4-FFF2-40B4-BE49-F238E27FC236}">
                <a16:creationId xmlns:a16="http://schemas.microsoft.com/office/drawing/2014/main" id="{6BC610D1-575F-ECF6-2183-D2E011BBF205}"/>
              </a:ext>
            </a:extLst>
          </p:cNvPr>
          <p:cNvSpPr>
            <a:spLocks noGrp="1"/>
          </p:cNvSpPr>
          <p:nvPr>
            <p:custDataLst>
              <p:tags r:id="rId9"/>
            </p:custDataLst>
          </p:nvPr>
        </p:nvSpPr>
        <p:spPr bwMode="auto">
          <a:xfrm>
            <a:off x="2933700" y="3748088"/>
            <a:ext cx="1228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F511AC3-A001-4BFF-AF04-327C11553BCB}" type="datetime'S''''u''pp''l''ie''r'' I''t''''''''''em ''N''um''''''be''r'''">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Supplier Item Number</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6" name="Szöveg helye 2">
            <a:extLst>
              <a:ext uri="{FF2B5EF4-FFF2-40B4-BE49-F238E27FC236}">
                <a16:creationId xmlns:a16="http://schemas.microsoft.com/office/drawing/2014/main" id="{D7B2619E-7673-F397-4A0B-CF7F82322B14}"/>
              </a:ext>
            </a:extLst>
          </p:cNvPr>
          <p:cNvSpPr>
            <a:spLocks noGrp="1"/>
          </p:cNvSpPr>
          <p:nvPr>
            <p:custDataLst>
              <p:tags r:id="rId10"/>
            </p:custDataLst>
          </p:nvPr>
        </p:nvSpPr>
        <p:spPr bwMode="auto">
          <a:xfrm>
            <a:off x="2925763" y="4060825"/>
            <a:ext cx="1236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A6BBC85-03F6-42EA-9186-F633380A701C}" type="datetime'''L''ine ''''Level'''''' ''D''''e''''''''scripti''''on'">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Line Level Description</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 name="Szöveg helye 2">
            <a:extLst>
              <a:ext uri="{FF2B5EF4-FFF2-40B4-BE49-F238E27FC236}">
                <a16:creationId xmlns:a16="http://schemas.microsoft.com/office/drawing/2014/main" id="{6BC610D1-575F-ECF6-2183-D2E011BBF205}"/>
              </a:ext>
            </a:extLst>
          </p:cNvPr>
          <p:cNvSpPr>
            <a:spLocks noGrp="1"/>
          </p:cNvSpPr>
          <p:nvPr>
            <p:custDataLst>
              <p:tags r:id="rId11"/>
            </p:custDataLst>
          </p:nvPr>
        </p:nvSpPr>
        <p:spPr bwMode="auto">
          <a:xfrm>
            <a:off x="3667125" y="4375150"/>
            <a:ext cx="4953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9992508-3A5C-4B15-B4AB-CDB973132459}" type="datetime'''''''''Qu''''a''n''''''''''t''''''''i''''''''''''''''ty'''">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Quantity</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 name="Szöveg helye 2">
            <a:extLst>
              <a:ext uri="{FF2B5EF4-FFF2-40B4-BE49-F238E27FC236}">
                <a16:creationId xmlns:a16="http://schemas.microsoft.com/office/drawing/2014/main" id="{6BC610D1-575F-ECF6-2183-D2E011BBF205}"/>
              </a:ext>
            </a:extLst>
          </p:cNvPr>
          <p:cNvSpPr>
            <a:spLocks noGrp="1"/>
          </p:cNvSpPr>
          <p:nvPr>
            <p:custDataLst>
              <p:tags r:id="rId12"/>
            </p:custDataLst>
          </p:nvPr>
        </p:nvSpPr>
        <p:spPr bwMode="auto">
          <a:xfrm>
            <a:off x="3254375" y="4687888"/>
            <a:ext cx="908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B3496E-D133-470F-A117-8EC49B522529}" type="datetime'U''n''''''''i''''''''t'''''''''' ''''of Me''as''''u''r''e'''''">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Unit of Measure</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Szöveg helye 2">
            <a:extLst>
              <a:ext uri="{FF2B5EF4-FFF2-40B4-BE49-F238E27FC236}">
                <a16:creationId xmlns:a16="http://schemas.microsoft.com/office/drawing/2014/main" id="{6BC610D1-575F-ECF6-2183-D2E011BBF205}"/>
              </a:ext>
            </a:extLst>
          </p:cNvPr>
          <p:cNvSpPr>
            <a:spLocks noGrp="1"/>
          </p:cNvSpPr>
          <p:nvPr>
            <p:custDataLst>
              <p:tags r:id="rId13"/>
            </p:custDataLst>
          </p:nvPr>
        </p:nvSpPr>
        <p:spPr bwMode="auto">
          <a:xfrm>
            <a:off x="3609975" y="5002213"/>
            <a:ext cx="5524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166FE51-43ED-459E-88F2-3314B0A7B126}" type="datetime'''U''''ni''''''t'''''' P''''''''''''''''''''''''''ric''e'''">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Unit Price</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3" name="Szöveg helye 2">
            <a:extLst>
              <a:ext uri="{FF2B5EF4-FFF2-40B4-BE49-F238E27FC236}">
                <a16:creationId xmlns:a16="http://schemas.microsoft.com/office/drawing/2014/main" id="{E09B8B47-C03B-0F06-E3F4-B1567202371D}"/>
              </a:ext>
            </a:extLst>
          </p:cNvPr>
          <p:cNvSpPr>
            <a:spLocks noGrp="1"/>
          </p:cNvSpPr>
          <p:nvPr>
            <p:custDataLst>
              <p:tags r:id="rId14"/>
            </p:custDataLst>
          </p:nvPr>
        </p:nvSpPr>
        <p:spPr bwMode="auto">
          <a:xfrm>
            <a:off x="3611563" y="5314950"/>
            <a:ext cx="550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AAFD7D8-0C9F-4B38-9DC7-FB5DFFEF95C0}" type="datetime'''''''''''''''''L''''''''''i''ne'''' ''''''''''''''''Total'">
              <a:rPr lang="en-GB" altLang="en-US" sz="100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Line Total</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2" name="Szöveg helye 2">
            <a:extLst>
              <a:ext uri="{FF2B5EF4-FFF2-40B4-BE49-F238E27FC236}">
                <a16:creationId xmlns:a16="http://schemas.microsoft.com/office/drawing/2014/main" id="{6BC610D1-575F-ECF6-2183-D2E011BBF205}"/>
              </a:ext>
            </a:extLst>
          </p:cNvPr>
          <p:cNvSpPr>
            <a:spLocks noGrp="1"/>
          </p:cNvSpPr>
          <p:nvPr>
            <p:custDataLst>
              <p:tags r:id="rId15"/>
            </p:custDataLst>
          </p:nvPr>
        </p:nvSpPr>
        <p:spPr bwMode="auto">
          <a:xfrm>
            <a:off x="5683250" y="5808663"/>
            <a:ext cx="193675"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b="1">
                <a:effectLst/>
                <a:latin typeface="+mn-lt"/>
                <a:sym typeface="Lato" panose="020F0502020204030203" pitchFamily="34" charset="0"/>
              </a:rPr>
              <a:t>Ø </a:t>
            </a:r>
            <a:fld id="{79527AD3-6D73-4FE9-952C-714ADC48BFFA}" type="datetime'''''9''''''''''''''''''''''''''''''''0'''''''''''''''''''''">
              <a:rPr lang="en-GB" altLang="en-US" sz="800" b="1" smtClean="0">
                <a:latin typeface="+mn-lt"/>
              </a:rPr>
              <a:pPr marL="0" indent="0" algn="ctr">
                <a:spcBef>
                  <a:spcPct val="0"/>
                </a:spcBef>
                <a:spcAft>
                  <a:spcPct val="0"/>
                </a:spcAft>
                <a:buNone/>
              </a:pPr>
              <a:t>90</a:t>
            </a:fld>
            <a:endParaRPr lang="en-GB" sz="800" b="1">
              <a:latin typeface="+mn-lt"/>
              <a:sym typeface="Lato" panose="020F0502020204030203" pitchFamily="34" charset="0"/>
            </a:endParaRPr>
          </a:p>
        </p:txBody>
      </p:sp>
      <p:graphicFrame>
        <p:nvGraphicFramePr>
          <p:cNvPr id="15" name="Chart 14">
            <a:extLst>
              <a:ext uri="{FF2B5EF4-FFF2-40B4-BE49-F238E27FC236}">
                <a16:creationId xmlns:a16="http://schemas.microsoft.com/office/drawing/2014/main" id="{AAA12F8E-D9BF-0E95-AFE4-9858725A7D02}"/>
              </a:ext>
            </a:extLst>
          </p:cNvPr>
          <p:cNvGraphicFramePr/>
          <p:nvPr>
            <p:custDataLst>
              <p:tags r:id="rId16"/>
            </p:custDataLst>
            <p:extLst>
              <p:ext uri="{D42A27DB-BD31-4B8C-83A1-F6EECF244321}">
                <p14:modId xmlns:p14="http://schemas.microsoft.com/office/powerpoint/2010/main" val="366360449"/>
              </p:ext>
            </p:extLst>
          </p:nvPr>
        </p:nvGraphicFramePr>
        <p:xfrm>
          <a:off x="8174038" y="3219450"/>
          <a:ext cx="2597150" cy="1147763"/>
        </p:xfrm>
        <a:graphic>
          <a:graphicData uri="http://schemas.openxmlformats.org/drawingml/2006/chart">
            <c:chart xmlns:c="http://schemas.openxmlformats.org/drawingml/2006/chart" xmlns:r="http://schemas.openxmlformats.org/officeDocument/2006/relationships" r:id="rId24"/>
          </a:graphicData>
        </a:graphic>
      </p:graphicFrame>
      <p:sp>
        <p:nvSpPr>
          <p:cNvPr id="176" name="Textplatzhalter 2">
            <a:extLst>
              <a:ext uri="{FF2B5EF4-FFF2-40B4-BE49-F238E27FC236}">
                <a16:creationId xmlns:a16="http://schemas.microsoft.com/office/drawing/2014/main" id="{53646026-D5BD-427B-BB82-1D999EE2B074}"/>
              </a:ext>
            </a:extLst>
          </p:cNvPr>
          <p:cNvSpPr>
            <a:spLocks noGrp="1"/>
          </p:cNvSpPr>
          <p:nvPr>
            <p:custDataLst>
              <p:tags r:id="rId17"/>
            </p:custDataLst>
          </p:nvPr>
        </p:nvSpPr>
        <p:spPr bwMode="auto">
          <a:xfrm>
            <a:off x="8618539" y="4327526"/>
            <a:ext cx="4937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4DD67D3-138A-4668-B838-05DA18290FCE}" type="datetime'L''in''''''''''e'''''''' ''''I''''te''m'">
              <a:rPr lang="en-US" altLang="en-US" sz="1000" smtClean="0">
                <a:solidFill>
                  <a:srgbClr val="000000"/>
                </a:solidFill>
                <a:latin typeface="Open Sauce One" panose="020B0604020202020204"/>
              </a:rPr>
              <a:pPr marL="0" lvl="0" indent="0" algn="ctr">
                <a:spcBef>
                  <a:spcPct val="0"/>
                </a:spcBef>
                <a:spcAft>
                  <a:spcPct val="0"/>
                </a:spcAft>
                <a:buNone/>
                <a:defRPr/>
              </a:pPr>
              <a:t>Line Item</a:t>
            </a:fld>
            <a:endPar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endParaRPr>
          </a:p>
        </p:txBody>
      </p:sp>
      <p:sp>
        <p:nvSpPr>
          <p:cNvPr id="177" name="Textplatzhalter 2">
            <a:extLst>
              <a:ext uri="{FF2B5EF4-FFF2-40B4-BE49-F238E27FC236}">
                <a16:creationId xmlns:a16="http://schemas.microsoft.com/office/drawing/2014/main" id="{94868B19-2A17-409E-A2B4-298EBEA5A0D0}"/>
              </a:ext>
            </a:extLst>
          </p:cNvPr>
          <p:cNvSpPr>
            <a:spLocks noGrp="1"/>
          </p:cNvSpPr>
          <p:nvPr>
            <p:custDataLst>
              <p:tags r:id="rId18"/>
            </p:custDataLst>
          </p:nvPr>
        </p:nvSpPr>
        <p:spPr bwMode="auto">
          <a:xfrm>
            <a:off x="9688513" y="4327525"/>
            <a:ext cx="7842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ACA30BE-C40D-4E1B-BB06-E2FEE8BD0934}" type="datetime'''Pil''''o''''t'''' P''''O'''''''''''''''' Mode''''''''l'">
              <a:rPr lang="en-US" altLang="en-US" sz="1000" smtClean="0">
                <a:solidFill>
                  <a:srgbClr val="000000"/>
                </a:solidFill>
                <a:latin typeface="Open Sauce One" panose="020B0604020202020204"/>
              </a:rPr>
              <a:pPr marL="0" lvl="0" indent="0" algn="ctr">
                <a:spcBef>
                  <a:spcPct val="0"/>
                </a:spcBef>
                <a:spcAft>
                  <a:spcPct val="0"/>
                </a:spcAft>
                <a:buNone/>
                <a:defRPr/>
              </a:pPr>
              <a:t>Pilot PO Model</a:t>
            </a:fld>
            <a:br>
              <a:rPr lang="en-US" altLang="en-US" sz="1000">
                <a:solidFill>
                  <a:srgbClr val="000000"/>
                </a:solidFill>
                <a:latin typeface="Open Sauce One" panose="020B0604020202020204"/>
              </a:rPr>
            </a:br>
            <a:endPar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endParaRPr>
          </a:p>
        </p:txBody>
      </p:sp>
      <p:sp>
        <p:nvSpPr>
          <p:cNvPr id="50" name="Lekerekített téglalap 20">
            <a:extLst>
              <a:ext uri="{FF2B5EF4-FFF2-40B4-BE49-F238E27FC236}">
                <a16:creationId xmlns:a16="http://schemas.microsoft.com/office/drawing/2014/main" id="{24F2D7C4-C532-4870-ABEB-1FF91693D4AF}"/>
              </a:ext>
            </a:extLst>
          </p:cNvPr>
          <p:cNvSpPr/>
          <p:nvPr/>
        </p:nvSpPr>
        <p:spPr>
          <a:xfrm>
            <a:off x="10175925" y="428335"/>
            <a:ext cx="1573161" cy="346234"/>
          </a:xfrm>
          <a:prstGeom prst="roundRect">
            <a:avLst>
              <a:gd name="adj" fmla="val 50000"/>
            </a:avLst>
          </a:prstGeom>
          <a:no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en-US" sz="1000">
                <a:solidFill>
                  <a:schemeClr val="tx2"/>
                </a:solidFill>
                <a:latin typeface="Open Sauce One" pitchFamily="2" charset="0"/>
              </a:rPr>
              <a:t>Capturing Quality </a:t>
            </a:r>
            <a:endParaRPr lang="en-GB" sz="1000">
              <a:solidFill>
                <a:schemeClr val="tx2"/>
              </a:solidFill>
              <a:latin typeface="Open Sauce One" pitchFamily="2" charset="0"/>
            </a:endParaRPr>
          </a:p>
        </p:txBody>
      </p:sp>
      <p:sp>
        <p:nvSpPr>
          <p:cNvPr id="52" name="Lekerekített téglalap 5">
            <a:extLst>
              <a:ext uri="{FF2B5EF4-FFF2-40B4-BE49-F238E27FC236}">
                <a16:creationId xmlns:a16="http://schemas.microsoft.com/office/drawing/2014/main" id="{4B2D0DFB-03E2-4696-9D10-D774772F7067}"/>
              </a:ext>
            </a:extLst>
          </p:cNvPr>
          <p:cNvSpPr/>
          <p:nvPr/>
        </p:nvSpPr>
        <p:spPr>
          <a:xfrm>
            <a:off x="604911" y="1943918"/>
            <a:ext cx="1617784" cy="372346"/>
          </a:xfrm>
          <a:prstGeom prst="roundRect">
            <a:avLst>
              <a:gd name="adj" fmla="val 50000"/>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Open Sauce One" pitchFamily="2" charset="0"/>
              </a:rPr>
              <a:t>Hypothesis 1</a:t>
            </a:r>
          </a:p>
        </p:txBody>
      </p:sp>
      <p:sp>
        <p:nvSpPr>
          <p:cNvPr id="53" name="TextBox 52">
            <a:extLst>
              <a:ext uri="{FF2B5EF4-FFF2-40B4-BE49-F238E27FC236}">
                <a16:creationId xmlns:a16="http://schemas.microsoft.com/office/drawing/2014/main" id="{5D7EC723-B586-4470-A55A-1EAC7DE3F919}"/>
              </a:ext>
            </a:extLst>
          </p:cNvPr>
          <p:cNvSpPr txBox="1"/>
          <p:nvPr/>
        </p:nvSpPr>
        <p:spPr>
          <a:xfrm>
            <a:off x="3312313" y="2502663"/>
            <a:ext cx="3802825" cy="461665"/>
          </a:xfrm>
          <a:prstGeom prst="rect">
            <a:avLst/>
          </a:prstGeom>
          <a:noFill/>
        </p:spPr>
        <p:txBody>
          <a:bodyPr wrap="square">
            <a:spAutoFit/>
          </a:bodyPr>
          <a:lstStyle/>
          <a:p>
            <a:r>
              <a:rPr lang="en-US" sz="1200" b="1">
                <a:latin typeface="Open Sauce One" pitchFamily="2" charset="0"/>
              </a:rPr>
              <a:t>Annotation Data Match Results</a:t>
            </a:r>
          </a:p>
          <a:p>
            <a:r>
              <a:rPr lang="en-US" sz="1200">
                <a:latin typeface="Open Sauce One" pitchFamily="2" charset="0"/>
              </a:rPr>
              <a:t>% accurate automation results</a:t>
            </a:r>
          </a:p>
        </p:txBody>
      </p:sp>
      <p:sp>
        <p:nvSpPr>
          <p:cNvPr id="54" name="TextBox 53">
            <a:extLst>
              <a:ext uri="{FF2B5EF4-FFF2-40B4-BE49-F238E27FC236}">
                <a16:creationId xmlns:a16="http://schemas.microsoft.com/office/drawing/2014/main" id="{8FD47743-7B72-4035-9075-CB7367824CE4}"/>
              </a:ext>
            </a:extLst>
          </p:cNvPr>
          <p:cNvSpPr txBox="1"/>
          <p:nvPr/>
        </p:nvSpPr>
        <p:spPr>
          <a:xfrm>
            <a:off x="7571231" y="2502663"/>
            <a:ext cx="3493844" cy="461665"/>
          </a:xfrm>
          <a:prstGeom prst="rect">
            <a:avLst/>
          </a:prstGeom>
          <a:noFill/>
        </p:spPr>
        <p:txBody>
          <a:bodyPr wrap="square">
            <a:spAutoFit/>
          </a:bodyPr>
          <a:lstStyle/>
          <a:p>
            <a:r>
              <a:rPr lang="en-US" sz="1200" b="1">
                <a:latin typeface="Open Sauce One" pitchFamily="2" charset="0"/>
              </a:rPr>
              <a:t>Observed and expected pass-through rates on document level </a:t>
            </a:r>
            <a:r>
              <a:rPr lang="en-US" sz="1200">
                <a:latin typeface="Open Sauce One" pitchFamily="2" charset="0"/>
              </a:rPr>
              <a:t>(in %)</a:t>
            </a:r>
          </a:p>
        </p:txBody>
      </p:sp>
      <p:cxnSp>
        <p:nvCxnSpPr>
          <p:cNvPr id="55" name="Straight Connector 54">
            <a:extLst>
              <a:ext uri="{FF2B5EF4-FFF2-40B4-BE49-F238E27FC236}">
                <a16:creationId xmlns:a16="http://schemas.microsoft.com/office/drawing/2014/main" id="{E3ED99CD-D6EE-4DD1-AF3C-5B6C9DD185D8}"/>
              </a:ext>
            </a:extLst>
          </p:cNvPr>
          <p:cNvCxnSpPr>
            <a:cxnSpLocks/>
          </p:cNvCxnSpPr>
          <p:nvPr/>
        </p:nvCxnSpPr>
        <p:spPr>
          <a:xfrm>
            <a:off x="7130319" y="2502663"/>
            <a:ext cx="0" cy="339187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6" name="Isosceles Triangle 55">
            <a:extLst>
              <a:ext uri="{FF2B5EF4-FFF2-40B4-BE49-F238E27FC236}">
                <a16:creationId xmlns:a16="http://schemas.microsoft.com/office/drawing/2014/main" id="{D113C61A-4B94-4388-B58C-47E4DD003B60}"/>
              </a:ext>
            </a:extLst>
          </p:cNvPr>
          <p:cNvSpPr/>
          <p:nvPr/>
        </p:nvSpPr>
        <p:spPr>
          <a:xfrm rot="5400000">
            <a:off x="7116541" y="4054685"/>
            <a:ext cx="210702" cy="183146"/>
          </a:xfrm>
          <a:prstGeom prst="triangl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Open Sauce One" pitchFamily="2" charset="0"/>
              <a:ea typeface="+mn-ea"/>
              <a:cs typeface="+mn-cs"/>
            </a:endParaRPr>
          </a:p>
        </p:txBody>
      </p:sp>
      <p:sp>
        <p:nvSpPr>
          <p:cNvPr id="78" name="Rectangle: Rounded Corners 77">
            <a:extLst>
              <a:ext uri="{FF2B5EF4-FFF2-40B4-BE49-F238E27FC236}">
                <a16:creationId xmlns:a16="http://schemas.microsoft.com/office/drawing/2014/main" id="{A8859266-1F16-4BCB-85E6-AF14E7CD79FC}"/>
              </a:ext>
            </a:extLst>
          </p:cNvPr>
          <p:cNvSpPr/>
          <p:nvPr/>
        </p:nvSpPr>
        <p:spPr>
          <a:xfrm>
            <a:off x="6414125" y="3445864"/>
            <a:ext cx="373399"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832</a:t>
            </a:r>
          </a:p>
        </p:txBody>
      </p:sp>
      <p:sp>
        <p:nvSpPr>
          <p:cNvPr id="79" name="Rectangle: Rounded Corners 78">
            <a:extLst>
              <a:ext uri="{FF2B5EF4-FFF2-40B4-BE49-F238E27FC236}">
                <a16:creationId xmlns:a16="http://schemas.microsoft.com/office/drawing/2014/main" id="{40C9C3A9-D62B-432C-9B3F-4C44D5327BA3}"/>
              </a:ext>
            </a:extLst>
          </p:cNvPr>
          <p:cNvSpPr/>
          <p:nvPr/>
        </p:nvSpPr>
        <p:spPr>
          <a:xfrm>
            <a:off x="6415528" y="3767389"/>
            <a:ext cx="354913" cy="17442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0</a:t>
            </a:r>
          </a:p>
        </p:txBody>
      </p:sp>
      <p:sp>
        <p:nvSpPr>
          <p:cNvPr id="80" name="Rectangle: Rounded Corners 79">
            <a:extLst>
              <a:ext uri="{FF2B5EF4-FFF2-40B4-BE49-F238E27FC236}">
                <a16:creationId xmlns:a16="http://schemas.microsoft.com/office/drawing/2014/main" id="{39D1522A-3A07-40A5-B77A-DAED9181CF7E}"/>
              </a:ext>
            </a:extLst>
          </p:cNvPr>
          <p:cNvSpPr/>
          <p:nvPr/>
        </p:nvSpPr>
        <p:spPr>
          <a:xfrm>
            <a:off x="6402126" y="4438798"/>
            <a:ext cx="37339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6958</a:t>
            </a:r>
          </a:p>
        </p:txBody>
      </p:sp>
      <p:sp>
        <p:nvSpPr>
          <p:cNvPr id="81" name="Rectangle: Rounded Corners 80">
            <a:extLst>
              <a:ext uri="{FF2B5EF4-FFF2-40B4-BE49-F238E27FC236}">
                <a16:creationId xmlns:a16="http://schemas.microsoft.com/office/drawing/2014/main" id="{4F4FD238-5C38-4227-B0D0-B6A83AEE6F9A}"/>
              </a:ext>
            </a:extLst>
          </p:cNvPr>
          <p:cNvSpPr/>
          <p:nvPr/>
        </p:nvSpPr>
        <p:spPr>
          <a:xfrm>
            <a:off x="6421787" y="4767024"/>
            <a:ext cx="373393"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2326</a:t>
            </a:r>
          </a:p>
        </p:txBody>
      </p:sp>
      <p:sp>
        <p:nvSpPr>
          <p:cNvPr id="82" name="Rectangle: Rounded Corners 81">
            <a:extLst>
              <a:ext uri="{FF2B5EF4-FFF2-40B4-BE49-F238E27FC236}">
                <a16:creationId xmlns:a16="http://schemas.microsoft.com/office/drawing/2014/main" id="{C2E8AD4C-CE43-4AA6-9BA0-B815BE50781D}"/>
              </a:ext>
            </a:extLst>
          </p:cNvPr>
          <p:cNvSpPr/>
          <p:nvPr/>
        </p:nvSpPr>
        <p:spPr>
          <a:xfrm>
            <a:off x="6414125" y="5084008"/>
            <a:ext cx="373391"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7923</a:t>
            </a:r>
          </a:p>
        </p:txBody>
      </p:sp>
      <p:sp>
        <p:nvSpPr>
          <p:cNvPr id="87" name="TextBox 86">
            <a:extLst>
              <a:ext uri="{FF2B5EF4-FFF2-40B4-BE49-F238E27FC236}">
                <a16:creationId xmlns:a16="http://schemas.microsoft.com/office/drawing/2014/main" id="{09E59149-9944-4557-BB84-61D11D972AA8}"/>
              </a:ext>
            </a:extLst>
          </p:cNvPr>
          <p:cNvSpPr txBox="1"/>
          <p:nvPr/>
        </p:nvSpPr>
        <p:spPr>
          <a:xfrm>
            <a:off x="5615373" y="2880501"/>
            <a:ext cx="1874825" cy="215444"/>
          </a:xfrm>
          <a:prstGeom prst="rect">
            <a:avLst/>
          </a:prstGeom>
          <a:noFill/>
        </p:spPr>
        <p:txBody>
          <a:bodyPr wrap="square">
            <a:spAutoFit/>
          </a:bodyPr>
          <a:lstStyle/>
          <a:p>
            <a:pPr algn="ctr"/>
            <a:r>
              <a:rPr lang="en-US" sz="800">
                <a:solidFill>
                  <a:schemeClr val="bg1">
                    <a:lumMod val="50000"/>
                  </a:schemeClr>
                </a:solidFill>
                <a:latin typeface="Open Sauce One" pitchFamily="2" charset="0"/>
              </a:rPr>
              <a:t>Testing Documents</a:t>
            </a:r>
          </a:p>
        </p:txBody>
      </p:sp>
      <p:sp>
        <p:nvSpPr>
          <p:cNvPr id="88" name="Rectangle 241">
            <a:extLst>
              <a:ext uri="{FF2B5EF4-FFF2-40B4-BE49-F238E27FC236}">
                <a16:creationId xmlns:a16="http://schemas.microsoft.com/office/drawing/2014/main" id="{83D1E047-8DAB-426C-8F16-9B346834FE16}"/>
              </a:ext>
            </a:extLst>
          </p:cNvPr>
          <p:cNvSpPr/>
          <p:nvPr/>
        </p:nvSpPr>
        <p:spPr>
          <a:xfrm>
            <a:off x="7571231" y="4593760"/>
            <a:ext cx="3873080" cy="1680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a:solidFill>
                  <a:schemeClr val="accent4"/>
                </a:solidFill>
                <a:latin typeface="Open Sauce One" panose="020B0604020202020204"/>
              </a:rPr>
              <a:t>Comments</a:t>
            </a:r>
          </a:p>
          <a:p>
            <a:endParaRPr lang="en-GB" sz="1400" b="1">
              <a:solidFill>
                <a:schemeClr val="accent4"/>
              </a:solidFill>
              <a:latin typeface="Open Sauce One" panose="020B0604020202020204"/>
            </a:endParaRPr>
          </a:p>
          <a:p>
            <a:pPr marL="171450" indent="-171450">
              <a:buFont typeface="Arial" panose="020B0604020202020204" pitchFamily="34" charset="0"/>
              <a:buChar char="•"/>
            </a:pPr>
            <a:r>
              <a:rPr lang="en-GB" sz="900">
                <a:solidFill>
                  <a:schemeClr val="bg1">
                    <a:lumMod val="50000"/>
                  </a:schemeClr>
                </a:solidFill>
                <a:latin typeface="Open Sauce One" pitchFamily="2" charset="0"/>
              </a:rPr>
              <a:t>Hypatos is evaluating a new candidate model to compare the current results.</a:t>
            </a:r>
          </a:p>
          <a:p>
            <a:endParaRPr lang="en-GB" sz="500" b="1">
              <a:solidFill>
                <a:schemeClr val="accent4"/>
              </a:solidFill>
              <a:latin typeface="Open Sauce One" panose="020B0604020202020204"/>
            </a:endParaRPr>
          </a:p>
          <a:p>
            <a:pPr marL="171450" lvl="1" indent="114300">
              <a:buFont typeface="Arial" panose="020B0604020202020204" pitchFamily="34" charset="0"/>
              <a:buChar char="•"/>
            </a:pPr>
            <a:endParaRPr lang="en-US" sz="900">
              <a:solidFill>
                <a:schemeClr val="bg1">
                  <a:lumMod val="50000"/>
                </a:schemeClr>
              </a:solidFill>
              <a:latin typeface="Open Sauce One" pitchFamily="2" charset="0"/>
            </a:endParaRPr>
          </a:p>
          <a:p>
            <a:pPr marL="171450" lvl="1" indent="114300">
              <a:buFont typeface="Arial" panose="020B0604020202020204" pitchFamily="34" charset="0"/>
              <a:buChar char="•"/>
            </a:pPr>
            <a:endParaRPr lang="en-US" sz="900">
              <a:solidFill>
                <a:schemeClr val="bg1">
                  <a:lumMod val="50000"/>
                </a:schemeClr>
              </a:solidFill>
              <a:latin typeface="Open Sauce One" pitchFamily="2" charset="0"/>
            </a:endParaRPr>
          </a:p>
          <a:p>
            <a:pPr marL="171450" lvl="1" indent="114300">
              <a:buFont typeface="Arial" panose="020B0604020202020204" pitchFamily="34" charset="0"/>
              <a:buChar char="•"/>
            </a:pPr>
            <a:endParaRPr lang="en-US" sz="900" b="0" i="0">
              <a:solidFill>
                <a:schemeClr val="bg1">
                  <a:lumMod val="50000"/>
                </a:schemeClr>
              </a:solidFill>
              <a:effectLst/>
              <a:latin typeface="Open Sauce One" panose="020B0604020202020204"/>
            </a:endParaRPr>
          </a:p>
          <a:p>
            <a:pPr marL="171450" lvl="1" indent="114300">
              <a:buFont typeface="Arial" panose="020B0604020202020204" pitchFamily="34" charset="0"/>
              <a:buChar char="•"/>
            </a:pPr>
            <a:endParaRPr lang="en-US" sz="900" b="0" i="0">
              <a:solidFill>
                <a:schemeClr val="bg1">
                  <a:lumMod val="50000"/>
                </a:schemeClr>
              </a:solidFill>
              <a:effectLst/>
              <a:latin typeface="Open Sauce One" panose="020B0604020202020204"/>
            </a:endParaRPr>
          </a:p>
          <a:p>
            <a:pPr marL="171450" lvl="1" indent="114300">
              <a:buFont typeface="Arial" panose="020B0604020202020204" pitchFamily="34" charset="0"/>
              <a:buChar char="•"/>
            </a:pPr>
            <a:endParaRPr lang="en-US" sz="900">
              <a:solidFill>
                <a:schemeClr val="bg1">
                  <a:lumMod val="50000"/>
                </a:schemeClr>
              </a:solidFill>
              <a:latin typeface="Open Sauce One" panose="020B0604020202020204"/>
            </a:endParaRPr>
          </a:p>
          <a:p>
            <a:pPr marL="136525" indent="-136525">
              <a:buFont typeface="Arial" panose="020B0604020202020204" pitchFamily="34" charset="0"/>
              <a:buChar char="•"/>
            </a:pPr>
            <a:endParaRPr lang="en-GB" sz="900">
              <a:solidFill>
                <a:schemeClr val="bg1">
                  <a:lumMod val="50000"/>
                </a:schemeClr>
              </a:solidFill>
              <a:latin typeface="Open Sauce One" panose="020B0604020202020204"/>
            </a:endParaRPr>
          </a:p>
        </p:txBody>
      </p:sp>
      <p:cxnSp>
        <p:nvCxnSpPr>
          <p:cNvPr id="89" name="Egyenes összekötő 14">
            <a:extLst>
              <a:ext uri="{FF2B5EF4-FFF2-40B4-BE49-F238E27FC236}">
                <a16:creationId xmlns:a16="http://schemas.microsoft.com/office/drawing/2014/main" id="{C4B793E5-9499-4655-94C0-EAEE3614E21A}"/>
              </a:ext>
            </a:extLst>
          </p:cNvPr>
          <p:cNvCxnSpPr>
            <a:cxnSpLocks/>
          </p:cNvCxnSpPr>
          <p:nvPr/>
        </p:nvCxnSpPr>
        <p:spPr>
          <a:xfrm flipH="1">
            <a:off x="7603271" y="4595935"/>
            <a:ext cx="3647467"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Lekerekített téglalap 6">
            <a:extLst>
              <a:ext uri="{FF2B5EF4-FFF2-40B4-BE49-F238E27FC236}">
                <a16:creationId xmlns:a16="http://schemas.microsoft.com/office/drawing/2014/main" id="{18D88B44-B46B-86F2-8068-83C04A7797C8}"/>
              </a:ext>
            </a:extLst>
          </p:cNvPr>
          <p:cNvSpPr/>
          <p:nvPr/>
        </p:nvSpPr>
        <p:spPr>
          <a:xfrm>
            <a:off x="3314927" y="1945283"/>
            <a:ext cx="1624308" cy="372346"/>
          </a:xfrm>
          <a:prstGeom prst="roundRect">
            <a:avLst>
              <a:gd name="adj" fmla="val 50000"/>
            </a:avLst>
          </a:prstGeom>
          <a:solidFill>
            <a:srgbClr val="AEE7D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030436"/>
                </a:solidFill>
                <a:latin typeface="Open Sauce One"/>
              </a:rPr>
              <a:t>Results</a:t>
            </a:r>
          </a:p>
        </p:txBody>
      </p:sp>
      <p:sp>
        <p:nvSpPr>
          <p:cNvPr id="114" name="Rectangle: Rounded Corners 113">
            <a:extLst>
              <a:ext uri="{FF2B5EF4-FFF2-40B4-BE49-F238E27FC236}">
                <a16:creationId xmlns:a16="http://schemas.microsoft.com/office/drawing/2014/main" id="{62774A16-409C-4CC8-A691-88024FA750FD}"/>
              </a:ext>
            </a:extLst>
          </p:cNvPr>
          <p:cNvSpPr/>
          <p:nvPr/>
        </p:nvSpPr>
        <p:spPr>
          <a:xfrm>
            <a:off x="6421791" y="5378812"/>
            <a:ext cx="373389"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9262</a:t>
            </a:r>
          </a:p>
        </p:txBody>
      </p:sp>
      <p:sp>
        <p:nvSpPr>
          <p:cNvPr id="94" name="Rectangle: Rounded Corners 93">
            <a:extLst>
              <a:ext uri="{FF2B5EF4-FFF2-40B4-BE49-F238E27FC236}">
                <a16:creationId xmlns:a16="http://schemas.microsoft.com/office/drawing/2014/main" id="{529D998F-D34B-29A2-BD84-90EF59CA5132}"/>
              </a:ext>
            </a:extLst>
          </p:cNvPr>
          <p:cNvSpPr/>
          <p:nvPr/>
        </p:nvSpPr>
        <p:spPr>
          <a:xfrm>
            <a:off x="6438453" y="4079228"/>
            <a:ext cx="356727" cy="19982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9235</a:t>
            </a:r>
          </a:p>
        </p:txBody>
      </p:sp>
    </p:spTree>
    <p:extLst>
      <p:ext uri="{BB962C8B-B14F-4D97-AF65-F5344CB8AC3E}">
        <p14:creationId xmlns:p14="http://schemas.microsoft.com/office/powerpoint/2010/main" val="85133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E8A96F4-6AE0-42A5-A3F3-A38A5A292D90}"/>
              </a:ext>
            </a:extLst>
          </p:cNvPr>
          <p:cNvGraphicFramePr>
            <a:graphicFrameLocks noChangeAspect="1"/>
          </p:cNvGraphicFramePr>
          <p:nvPr>
            <p:custDataLst>
              <p:tags r:id="rId1"/>
            </p:custDataLst>
            <p:extLst>
              <p:ext uri="{D42A27DB-BD31-4B8C-83A1-F6EECF244321}">
                <p14:modId xmlns:p14="http://schemas.microsoft.com/office/powerpoint/2010/main" val="90039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DE8A96F4-6AE0-42A5-A3F3-A38A5A292D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E5488EFF-CBEA-80E6-3982-C78BD5B50047}"/>
              </a:ext>
            </a:extLst>
          </p:cNvPr>
          <p:cNvSpPr>
            <a:spLocks noGrp="1"/>
          </p:cNvSpPr>
          <p:nvPr>
            <p:ph type="title"/>
          </p:nvPr>
        </p:nvSpPr>
        <p:spPr>
          <a:xfrm>
            <a:off x="407988" y="963466"/>
            <a:ext cx="11341100" cy="461665"/>
          </a:xfrm>
        </p:spPr>
        <p:txBody>
          <a:bodyPr vert="horz"/>
          <a:lstStyle/>
          <a:p>
            <a:r>
              <a:rPr lang="en-US" sz="2400"/>
              <a:t>Updated Document Routing Flow </a:t>
            </a:r>
          </a:p>
        </p:txBody>
      </p:sp>
      <p:sp>
        <p:nvSpPr>
          <p:cNvPr id="4" name="Dia számának helye 3">
            <a:extLst>
              <a:ext uri="{FF2B5EF4-FFF2-40B4-BE49-F238E27FC236}">
                <a16:creationId xmlns:a16="http://schemas.microsoft.com/office/drawing/2014/main" id="{A0139F03-1DAC-25D3-850E-887054A401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2D668-955E-AB45-9B4E-D4D3490B1261}" type="slidenum">
              <a:rPr kumimoji="0" lang="en-US" sz="1000" b="0" i="0" u="none" strike="noStrike" kern="1200" cap="none" spc="0" normalizeH="0" baseline="0" noProof="0" dirty="0" smtClean="0">
                <a:ln>
                  <a:noFill/>
                </a:ln>
                <a:solidFill>
                  <a:srgbClr val="FFFFFF">
                    <a:lumMod val="50000"/>
                  </a:srgbClr>
                </a:solidFill>
                <a:effectLst/>
                <a:uLnTx/>
                <a:uFillTx/>
                <a:latin typeface="Open Sauce On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FFFFFF">
                  <a:lumMod val="50000"/>
                </a:srgbClr>
              </a:solidFill>
              <a:effectLst/>
              <a:uLnTx/>
              <a:uFillTx/>
              <a:latin typeface="Open Sauce One" pitchFamily="2" charset="0"/>
              <a:ea typeface="+mn-ea"/>
              <a:cs typeface="+mn-cs"/>
            </a:endParaRPr>
          </a:p>
        </p:txBody>
      </p:sp>
      <p:sp>
        <p:nvSpPr>
          <p:cNvPr id="5" name="Tartalom helye 4">
            <a:extLst>
              <a:ext uri="{FF2B5EF4-FFF2-40B4-BE49-F238E27FC236}">
                <a16:creationId xmlns:a16="http://schemas.microsoft.com/office/drawing/2014/main" id="{3DAF7342-BA0B-8740-DCF6-A65EA384405C}"/>
              </a:ext>
            </a:extLst>
          </p:cNvPr>
          <p:cNvSpPr>
            <a:spLocks noGrp="1"/>
          </p:cNvSpPr>
          <p:nvPr>
            <p:ph idx="13"/>
          </p:nvPr>
        </p:nvSpPr>
        <p:spPr/>
        <p:txBody>
          <a:bodyPr/>
          <a:lstStyle/>
          <a:p>
            <a:r>
              <a:rPr lang="en-US"/>
              <a:t>Highlight Topic </a:t>
            </a:r>
          </a:p>
          <a:p>
            <a:endParaRPr lang="en-US"/>
          </a:p>
        </p:txBody>
      </p:sp>
      <p:sp>
        <p:nvSpPr>
          <p:cNvPr id="88" name="Rectangle 241">
            <a:extLst>
              <a:ext uri="{FF2B5EF4-FFF2-40B4-BE49-F238E27FC236}">
                <a16:creationId xmlns:a16="http://schemas.microsoft.com/office/drawing/2014/main" id="{83D1E047-8DAB-426C-8F16-9B346834FE16}"/>
              </a:ext>
            </a:extLst>
          </p:cNvPr>
          <p:cNvSpPr/>
          <p:nvPr/>
        </p:nvSpPr>
        <p:spPr>
          <a:xfrm>
            <a:off x="7571231" y="4593760"/>
            <a:ext cx="3873080" cy="1680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1" indent="114300">
              <a:buFont typeface="Arial" panose="020B0604020202020204" pitchFamily="34" charset="0"/>
              <a:buChar char="•"/>
            </a:pPr>
            <a:endParaRPr lang="en-US" sz="900" b="0" i="0">
              <a:solidFill>
                <a:schemeClr val="bg1">
                  <a:lumMod val="50000"/>
                </a:schemeClr>
              </a:solidFill>
              <a:effectLst/>
              <a:latin typeface="Open Sauce One" panose="020B0604020202020204"/>
            </a:endParaRPr>
          </a:p>
          <a:p>
            <a:pPr marL="171450" lvl="1" indent="114300">
              <a:buFont typeface="Arial" panose="020B0604020202020204" pitchFamily="34" charset="0"/>
              <a:buChar char="•"/>
            </a:pPr>
            <a:endParaRPr lang="en-US" sz="900" b="0" i="0">
              <a:solidFill>
                <a:schemeClr val="bg1">
                  <a:lumMod val="50000"/>
                </a:schemeClr>
              </a:solidFill>
              <a:effectLst/>
              <a:latin typeface="Open Sauce One" panose="020B0604020202020204"/>
            </a:endParaRPr>
          </a:p>
          <a:p>
            <a:pPr marL="171450" lvl="1" indent="114300">
              <a:buFont typeface="Arial" panose="020B0604020202020204" pitchFamily="34" charset="0"/>
              <a:buChar char="•"/>
            </a:pPr>
            <a:endParaRPr lang="en-US" sz="900">
              <a:solidFill>
                <a:schemeClr val="bg1">
                  <a:lumMod val="50000"/>
                </a:schemeClr>
              </a:solidFill>
              <a:latin typeface="Open Sauce One" panose="020B0604020202020204"/>
            </a:endParaRPr>
          </a:p>
          <a:p>
            <a:pPr marL="136525" indent="-136525">
              <a:buFont typeface="Arial" panose="020B0604020202020204" pitchFamily="34" charset="0"/>
              <a:buChar char="•"/>
            </a:pPr>
            <a:endParaRPr lang="en-GB" sz="900">
              <a:solidFill>
                <a:schemeClr val="bg1">
                  <a:lumMod val="50000"/>
                </a:schemeClr>
              </a:solidFill>
              <a:latin typeface="Open Sauce One" panose="020B0604020202020204"/>
            </a:endParaRPr>
          </a:p>
        </p:txBody>
      </p:sp>
      <p:pic>
        <p:nvPicPr>
          <p:cNvPr id="40" name="Picture 39" descr="A diagram of a computer&#10;&#10;Description automatically generated">
            <a:extLst>
              <a:ext uri="{FF2B5EF4-FFF2-40B4-BE49-F238E27FC236}">
                <a16:creationId xmlns:a16="http://schemas.microsoft.com/office/drawing/2014/main" id="{823DDAEA-51DA-CDF0-565A-22EF0608AF15}"/>
              </a:ext>
            </a:extLst>
          </p:cNvPr>
          <p:cNvPicPr>
            <a:picLocks noChangeAspect="1"/>
          </p:cNvPicPr>
          <p:nvPr/>
        </p:nvPicPr>
        <p:blipFill>
          <a:blip r:embed="rId6"/>
          <a:stretch>
            <a:fillRect/>
          </a:stretch>
        </p:blipFill>
        <p:spPr>
          <a:xfrm>
            <a:off x="2727342" y="1565047"/>
            <a:ext cx="7662928" cy="4640227"/>
          </a:xfrm>
          <a:prstGeom prst="rect">
            <a:avLst/>
          </a:prstGeom>
        </p:spPr>
      </p:pic>
    </p:spTree>
    <p:extLst>
      <p:ext uri="{BB962C8B-B14F-4D97-AF65-F5344CB8AC3E}">
        <p14:creationId xmlns:p14="http://schemas.microsoft.com/office/powerpoint/2010/main" val="1464941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E8A96F4-6AE0-42A5-A3F3-A38A5A292D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8" name="think-cell data - do not delete" hidden="1">
                        <a:extLst>
                          <a:ext uri="{FF2B5EF4-FFF2-40B4-BE49-F238E27FC236}">
                            <a16:creationId xmlns:a16="http://schemas.microsoft.com/office/drawing/2014/main" id="{DE8A96F4-6AE0-42A5-A3F3-A38A5A292D90}"/>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7" name="Lekerekített téglalap 4">
            <a:extLst>
              <a:ext uri="{FF2B5EF4-FFF2-40B4-BE49-F238E27FC236}">
                <a16:creationId xmlns:a16="http://schemas.microsoft.com/office/drawing/2014/main" id="{28BC0EE5-A0BF-4C58-9161-FF722A7747DA}"/>
              </a:ext>
            </a:extLst>
          </p:cNvPr>
          <p:cNvSpPr>
            <a:spLocks noGrp="1" noRot="1" noMove="1" noResize="1" noEditPoints="1" noAdjustHandles="1" noChangeArrowheads="1" noChangeShapeType="1"/>
          </p:cNvSpPr>
          <p:nvPr/>
        </p:nvSpPr>
        <p:spPr>
          <a:xfrm>
            <a:off x="3029192" y="2137370"/>
            <a:ext cx="8719895" cy="4171355"/>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Open Sauce One" pitchFamily="2" charset="0"/>
              <a:ea typeface="+mn-ea"/>
              <a:cs typeface="+mn-cs"/>
            </a:endParaRPr>
          </a:p>
        </p:txBody>
      </p:sp>
      <p:sp>
        <p:nvSpPr>
          <p:cNvPr id="2" name="Cím 1">
            <a:extLst>
              <a:ext uri="{FF2B5EF4-FFF2-40B4-BE49-F238E27FC236}">
                <a16:creationId xmlns:a16="http://schemas.microsoft.com/office/drawing/2014/main" id="{E5488EFF-CBEA-80E6-3982-C78BD5B50047}"/>
              </a:ext>
            </a:extLst>
          </p:cNvPr>
          <p:cNvSpPr>
            <a:spLocks noGrp="1"/>
          </p:cNvSpPr>
          <p:nvPr>
            <p:ph type="title"/>
          </p:nvPr>
        </p:nvSpPr>
        <p:spPr>
          <a:xfrm>
            <a:off x="407988" y="963466"/>
            <a:ext cx="11341100" cy="830997"/>
          </a:xfrm>
        </p:spPr>
        <p:txBody>
          <a:bodyPr vert="horz"/>
          <a:lstStyle/>
          <a:p>
            <a:r>
              <a:rPr lang="en-US" sz="2400"/>
              <a:t>Achieving 90% - 95% Non-PO header data capture accuracy for incoming invoices without manual verification (Pilot Scope)</a:t>
            </a:r>
          </a:p>
        </p:txBody>
      </p:sp>
      <p:sp>
        <p:nvSpPr>
          <p:cNvPr id="4" name="Dia számának helye 3">
            <a:extLst>
              <a:ext uri="{FF2B5EF4-FFF2-40B4-BE49-F238E27FC236}">
                <a16:creationId xmlns:a16="http://schemas.microsoft.com/office/drawing/2014/main" id="{A0139F03-1DAC-25D3-850E-887054A401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2D668-955E-AB45-9B4E-D4D3490B1261}" type="slidenum">
              <a:rPr kumimoji="0" lang="en-US" sz="1000" b="0" i="0" u="none" strike="noStrike" kern="1200" cap="none" spc="0" normalizeH="0" baseline="0" noProof="0" smtClean="0">
                <a:ln>
                  <a:noFill/>
                </a:ln>
                <a:solidFill>
                  <a:srgbClr val="FFFFFF">
                    <a:lumMod val="50000"/>
                  </a:srgbClr>
                </a:solidFill>
                <a:effectLst/>
                <a:uLnTx/>
                <a:uFillTx/>
                <a:latin typeface="Open Sauce On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FFFFFF">
                  <a:lumMod val="50000"/>
                </a:srgbClr>
              </a:solidFill>
              <a:effectLst/>
              <a:uLnTx/>
              <a:uFillTx/>
              <a:latin typeface="Open Sauce One" pitchFamily="2" charset="0"/>
              <a:ea typeface="+mn-ea"/>
              <a:cs typeface="+mn-cs"/>
            </a:endParaRPr>
          </a:p>
        </p:txBody>
      </p:sp>
      <p:sp>
        <p:nvSpPr>
          <p:cNvPr id="5" name="Tartalom helye 4">
            <a:extLst>
              <a:ext uri="{FF2B5EF4-FFF2-40B4-BE49-F238E27FC236}">
                <a16:creationId xmlns:a16="http://schemas.microsoft.com/office/drawing/2014/main" id="{3DAF7342-BA0B-8740-DCF6-A65EA384405C}"/>
              </a:ext>
            </a:extLst>
          </p:cNvPr>
          <p:cNvSpPr>
            <a:spLocks noGrp="1"/>
          </p:cNvSpPr>
          <p:nvPr>
            <p:ph idx="13"/>
          </p:nvPr>
        </p:nvSpPr>
        <p:spPr/>
        <p:txBody>
          <a:bodyPr/>
          <a:lstStyle/>
          <a:p>
            <a:r>
              <a:rPr lang="en-US"/>
              <a:t>Non-PO Model Results Presentation </a:t>
            </a:r>
          </a:p>
          <a:p>
            <a:endParaRPr lang="en-US"/>
          </a:p>
        </p:txBody>
      </p:sp>
      <p:sp>
        <p:nvSpPr>
          <p:cNvPr id="22" name="Lekerekített téglalap 4">
            <a:extLst>
              <a:ext uri="{FF2B5EF4-FFF2-40B4-BE49-F238E27FC236}">
                <a16:creationId xmlns:a16="http://schemas.microsoft.com/office/drawing/2014/main" id="{7B142CC6-E85D-45F8-BA2B-CB9806188691}"/>
              </a:ext>
            </a:extLst>
          </p:cNvPr>
          <p:cNvSpPr/>
          <p:nvPr/>
        </p:nvSpPr>
        <p:spPr>
          <a:xfrm>
            <a:off x="407989" y="2127723"/>
            <a:ext cx="2449511" cy="4171355"/>
          </a:xfrm>
          <a:prstGeom prst="roundRect">
            <a:avLst>
              <a:gd name="adj" fmla="val 7297"/>
            </a:avLst>
          </a:prstGeom>
          <a:solidFill>
            <a:schemeClr val="bg2"/>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20000"/>
              </a:lnSpc>
            </a:pPr>
            <a:endParaRPr lang="en-US" sz="1400">
              <a:solidFill>
                <a:schemeClr val="tx1"/>
              </a:solidFill>
              <a:latin typeface="Open Sauce One" pitchFamily="2" charset="0"/>
            </a:endParaRPr>
          </a:p>
          <a:p>
            <a:pPr algn="ctr">
              <a:lnSpc>
                <a:spcPct val="120000"/>
              </a:lnSpc>
            </a:pPr>
            <a:r>
              <a:rPr kumimoji="0" lang="en-US" sz="1400" b="1" i="0" u="none" strike="noStrike" kern="1200" cap="none" spc="0" normalizeH="0" baseline="0" noProof="0">
                <a:ln>
                  <a:noFill/>
                </a:ln>
                <a:solidFill>
                  <a:schemeClr val="tx2"/>
                </a:solidFill>
                <a:effectLst/>
                <a:uLnTx/>
                <a:uFillTx/>
                <a:latin typeface="Open Sauce One" pitchFamily="2" charset="0"/>
                <a:ea typeface="+mn-ea"/>
                <a:cs typeface="+mn-cs"/>
              </a:rPr>
              <a:t>Key metric</a:t>
            </a:r>
          </a:p>
          <a:p>
            <a:pPr algn="ctr">
              <a:lnSpc>
                <a:spcPct val="120000"/>
              </a:lnSpc>
            </a:pPr>
            <a:endParaRPr lang="en-US" sz="1400">
              <a:solidFill>
                <a:schemeClr val="tx1"/>
              </a:solidFill>
              <a:latin typeface="Open Sauce One" pitchFamily="2" charset="0"/>
            </a:endParaRPr>
          </a:p>
          <a:p>
            <a:pPr algn="ctr">
              <a:lnSpc>
                <a:spcPct val="120000"/>
              </a:lnSpc>
            </a:pPr>
            <a:r>
              <a:rPr lang="en-US" sz="1400">
                <a:solidFill>
                  <a:schemeClr val="tx1"/>
                </a:solidFill>
                <a:latin typeface="Open Sauce One" pitchFamily="2" charset="0"/>
              </a:rPr>
              <a:t>The capture rate of header data points of incoming invoices without manual verification can be increased to at least 90% - 95% on field level for documents within the training and testing scope.</a:t>
            </a:r>
          </a:p>
        </p:txBody>
      </p:sp>
      <p:graphicFrame>
        <p:nvGraphicFramePr>
          <p:cNvPr id="71" name="Chart 70">
            <a:extLst>
              <a:ext uri="{FF2B5EF4-FFF2-40B4-BE49-F238E27FC236}">
                <a16:creationId xmlns:a16="http://schemas.microsoft.com/office/drawing/2014/main" id="{EF226BE4-51CE-5660-2176-A1CB1288EF89}"/>
              </a:ext>
            </a:extLst>
          </p:cNvPr>
          <p:cNvGraphicFramePr/>
          <p:nvPr>
            <p:custDataLst>
              <p:tags r:id="rId2"/>
            </p:custDataLst>
          </p:nvPr>
        </p:nvGraphicFramePr>
        <p:xfrm>
          <a:off x="4127500" y="3087688"/>
          <a:ext cx="1874838" cy="2832100"/>
        </p:xfrm>
        <a:graphic>
          <a:graphicData uri="http://schemas.openxmlformats.org/drawingml/2006/chart">
            <c:chart xmlns:c="http://schemas.openxmlformats.org/drawingml/2006/chart" xmlns:r="http://schemas.openxmlformats.org/officeDocument/2006/relationships" r:id="rId37"/>
          </a:graphicData>
        </a:graphic>
      </p:graphicFrame>
      <p:sp>
        <p:nvSpPr>
          <p:cNvPr id="64" name="Arrow: Right 63">
            <a:extLst>
              <a:ext uri="{FF2B5EF4-FFF2-40B4-BE49-F238E27FC236}">
                <a16:creationId xmlns:a16="http://schemas.microsoft.com/office/drawing/2014/main" id="{331A2D69-BBE3-AC9E-1451-72E4F285E50C}"/>
              </a:ext>
            </a:extLst>
          </p:cNvPr>
          <p:cNvSpPr/>
          <p:nvPr>
            <p:custDataLst>
              <p:tags r:id="rId3"/>
            </p:custDataLst>
          </p:nvPr>
        </p:nvSpPr>
        <p:spPr bwMode="auto">
          <a:xfrm rot="16200000">
            <a:off x="5676900" y="5875338"/>
            <a:ext cx="128588" cy="152400"/>
          </a:xfrm>
          <a:prstGeom prst="rightArrow">
            <a:avLst>
              <a:gd name="adj1" fmla="val 100000"/>
              <a:gd name="adj2" fmla="val 100000"/>
            </a:avLst>
          </a:prstGeom>
          <a:solidFill>
            <a:schemeClr val="tx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5" name="Straight Connector 64">
            <a:extLst>
              <a:ext uri="{FF2B5EF4-FFF2-40B4-BE49-F238E27FC236}">
                <a16:creationId xmlns:a16="http://schemas.microsoft.com/office/drawing/2014/main" id="{40B7B2FE-BFE1-92FD-2E78-74A5F197003B}"/>
              </a:ext>
            </a:extLst>
          </p:cNvPr>
          <p:cNvCxnSpPr/>
          <p:nvPr>
            <p:custDataLst>
              <p:tags r:id="rId4"/>
            </p:custDataLst>
          </p:nvPr>
        </p:nvCxnSpPr>
        <p:spPr bwMode="auto">
          <a:xfrm>
            <a:off x="5740400" y="3170238"/>
            <a:ext cx="0" cy="2136775"/>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F996F943-B016-C79C-0B92-4AF599A6A0CE}"/>
              </a:ext>
            </a:extLst>
          </p:cNvPr>
          <p:cNvCxnSpPr/>
          <p:nvPr>
            <p:custDataLst>
              <p:tags r:id="rId5"/>
            </p:custDataLst>
          </p:nvPr>
        </p:nvCxnSpPr>
        <p:spPr bwMode="auto">
          <a:xfrm>
            <a:off x="5740400" y="5478463"/>
            <a:ext cx="0" cy="358775"/>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Szöveg helye 2">
            <a:extLst>
              <a:ext uri="{FF2B5EF4-FFF2-40B4-BE49-F238E27FC236}">
                <a16:creationId xmlns:a16="http://schemas.microsoft.com/office/drawing/2014/main" id="{6BC610D1-575F-ECF6-2183-D2E011BBF205}"/>
              </a:ext>
            </a:extLst>
          </p:cNvPr>
          <p:cNvSpPr>
            <a:spLocks noGrp="1"/>
          </p:cNvSpPr>
          <p:nvPr>
            <p:custDataLst>
              <p:tags r:id="rId6"/>
            </p:custDataLst>
          </p:nvPr>
        </p:nvSpPr>
        <p:spPr bwMode="auto">
          <a:xfrm>
            <a:off x="3802064" y="3211513"/>
            <a:ext cx="322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4E2E10-67CE-49D5-B3E0-161C2164F141}" type="datetime'''''''N''U''''''''''''''''I''''''D'''''''''''''''">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NUID</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2" name="Szöveg helye 2">
            <a:extLst>
              <a:ext uri="{FF2B5EF4-FFF2-40B4-BE49-F238E27FC236}">
                <a16:creationId xmlns:a16="http://schemas.microsoft.com/office/drawing/2014/main" id="{6BC610D1-575F-ECF6-2183-D2E011BBF205}"/>
              </a:ext>
            </a:extLst>
          </p:cNvPr>
          <p:cNvSpPr>
            <a:spLocks noGrp="1"/>
          </p:cNvSpPr>
          <p:nvPr>
            <p:custDataLst>
              <p:tags r:id="rId7"/>
            </p:custDataLst>
          </p:nvPr>
        </p:nvSpPr>
        <p:spPr bwMode="gray">
          <a:xfrm>
            <a:off x="5651500" y="3560763"/>
            <a:ext cx="158750" cy="109538"/>
          </a:xfrm>
          <a:prstGeom prst="rect">
            <a:avLst/>
          </a:prstGeom>
          <a:solidFill>
            <a:schemeClr val="bg1"/>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90000"/>
              </a:lnSpc>
              <a:spcBef>
                <a:spcPct val="0"/>
              </a:spcBef>
              <a:spcAft>
                <a:spcPct val="0"/>
              </a:spcAft>
              <a:buNone/>
            </a:pPr>
            <a:fld id="{7CAC705E-273D-45A6-882A-11ED339060BB}" type="datetime'''''''21'''''''''''''''">
              <a:rPr lang="en-GB" altLang="en-US" sz="800" dirty="0" smtClean="0">
                <a:effectLst/>
              </a:rPr>
              <a:pPr marL="0" indent="0" algn="ctr">
                <a:lnSpc>
                  <a:spcPct val="90000"/>
                </a:lnSpc>
                <a:spcBef>
                  <a:spcPct val="0"/>
                </a:spcBef>
                <a:spcAft>
                  <a:spcPct val="0"/>
                </a:spcAft>
                <a:buNone/>
              </a:pPr>
              <a:t>21</a:t>
            </a:fld>
            <a:endParaRPr lang="en-GB" sz="800">
              <a:sym typeface="Lato" panose="020F0502020204030203" pitchFamily="34" charset="0"/>
            </a:endParaRPr>
          </a:p>
        </p:txBody>
      </p:sp>
      <p:sp>
        <p:nvSpPr>
          <p:cNvPr id="11" name="Szöveg helye 2">
            <a:extLst>
              <a:ext uri="{FF2B5EF4-FFF2-40B4-BE49-F238E27FC236}">
                <a16:creationId xmlns:a16="http://schemas.microsoft.com/office/drawing/2014/main" id="{6BC610D1-575F-ECF6-2183-D2E011BBF205}"/>
              </a:ext>
            </a:extLst>
          </p:cNvPr>
          <p:cNvSpPr>
            <a:spLocks noGrp="1"/>
          </p:cNvSpPr>
          <p:nvPr>
            <p:custDataLst>
              <p:tags r:id="rId8"/>
            </p:custDataLst>
          </p:nvPr>
        </p:nvSpPr>
        <p:spPr bwMode="auto">
          <a:xfrm>
            <a:off x="3575050" y="3508375"/>
            <a:ext cx="549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B0568B7-207A-42FC-AA96-A2DCC126F3D6}" type="datetime'''''G''''''L S''''''''''''''''t''r''i''''''n''''''''g'' '''''">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GL String </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Szöveg helye 2">
            <a:extLst>
              <a:ext uri="{FF2B5EF4-FFF2-40B4-BE49-F238E27FC236}">
                <a16:creationId xmlns:a16="http://schemas.microsoft.com/office/drawing/2014/main" id="{6BC610D1-575F-ECF6-2183-D2E011BBF205}"/>
              </a:ext>
            </a:extLst>
          </p:cNvPr>
          <p:cNvSpPr>
            <a:spLocks noGrp="1"/>
          </p:cNvSpPr>
          <p:nvPr>
            <p:custDataLst>
              <p:tags r:id="rId9"/>
            </p:custDataLst>
          </p:nvPr>
        </p:nvSpPr>
        <p:spPr bwMode="auto">
          <a:xfrm>
            <a:off x="3419474" y="3803650"/>
            <a:ext cx="704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BCF8DE6-3D47-495D-9F58-412469ABA9E4}" type="datetime'''''''''''''''''''''''''''I''n''''voi''''''''c''e Da''''t''e'">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Invoice Date</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3" name="Szöveg helye 2">
            <a:extLst>
              <a:ext uri="{FF2B5EF4-FFF2-40B4-BE49-F238E27FC236}">
                <a16:creationId xmlns:a16="http://schemas.microsoft.com/office/drawing/2014/main" id="{6BC610D1-575F-ECF6-2183-D2E011BBF205}"/>
              </a:ext>
            </a:extLst>
          </p:cNvPr>
          <p:cNvSpPr>
            <a:spLocks noGrp="1"/>
          </p:cNvSpPr>
          <p:nvPr>
            <p:custDataLst>
              <p:tags r:id="rId10"/>
            </p:custDataLst>
          </p:nvPr>
        </p:nvSpPr>
        <p:spPr bwMode="auto">
          <a:xfrm>
            <a:off x="3235325" y="4100513"/>
            <a:ext cx="889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9E8D20-5922-4ABE-9FFE-DD2E3DC9ED3E}" type="datetime'''''''I''''n''''''''''v''''oic''''''e'''''''''' N''um''be''r'">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Invoice Number</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 name="Szöveg helye 2">
            <a:extLst>
              <a:ext uri="{FF2B5EF4-FFF2-40B4-BE49-F238E27FC236}">
                <a16:creationId xmlns:a16="http://schemas.microsoft.com/office/drawing/2014/main" id="{6BC610D1-575F-ECF6-2183-D2E011BBF205}"/>
              </a:ext>
            </a:extLst>
          </p:cNvPr>
          <p:cNvSpPr>
            <a:spLocks noGrp="1"/>
          </p:cNvSpPr>
          <p:nvPr>
            <p:custDataLst>
              <p:tags r:id="rId11"/>
            </p:custDataLst>
          </p:nvPr>
        </p:nvSpPr>
        <p:spPr bwMode="auto">
          <a:xfrm>
            <a:off x="3240088" y="4397375"/>
            <a:ext cx="884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4B6F3E-C2F2-43A9-86FD-E8543C05590F}" type="datetime'Fr''eight C''har''''''''g''''''''es'''''''''''''''">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Freight Charges</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0" name="Szöveg helye 2">
            <a:extLst>
              <a:ext uri="{FF2B5EF4-FFF2-40B4-BE49-F238E27FC236}">
                <a16:creationId xmlns:a16="http://schemas.microsoft.com/office/drawing/2014/main" id="{6BC610D1-575F-ECF6-2183-D2E011BBF205}"/>
              </a:ext>
            </a:extLst>
          </p:cNvPr>
          <p:cNvSpPr>
            <a:spLocks noGrp="1"/>
          </p:cNvSpPr>
          <p:nvPr>
            <p:custDataLst>
              <p:tags r:id="rId12"/>
            </p:custDataLst>
          </p:nvPr>
        </p:nvSpPr>
        <p:spPr bwMode="auto">
          <a:xfrm>
            <a:off x="3321050" y="4692650"/>
            <a:ext cx="803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4BCDA16-69F0-429F-9CAA-3091BB3CC228}" type="datetime'Gr''o''''''''s''''''''s'''''''''' Am''''o''''''''''un''''t'''">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Gross Amount</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 name="Szöveg helye 2">
            <a:extLst>
              <a:ext uri="{FF2B5EF4-FFF2-40B4-BE49-F238E27FC236}">
                <a16:creationId xmlns:a16="http://schemas.microsoft.com/office/drawing/2014/main" id="{6BC610D1-575F-ECF6-2183-D2E011BBF205}"/>
              </a:ext>
            </a:extLst>
          </p:cNvPr>
          <p:cNvSpPr>
            <a:spLocks noGrp="1"/>
          </p:cNvSpPr>
          <p:nvPr>
            <p:custDataLst>
              <p:tags r:id="rId13"/>
            </p:custDataLst>
          </p:nvPr>
        </p:nvSpPr>
        <p:spPr bwMode="auto">
          <a:xfrm>
            <a:off x="3375025" y="4989513"/>
            <a:ext cx="7493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6AD8E2E-F1D9-4E3C-97B1-C80A837A811D}" type="datetime'Mi''s''c'''''''''''''''''''' Ch''''''''ar''''''''g''''es'''">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Misc Charges</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Szöveg helye 2">
            <a:extLst>
              <a:ext uri="{FF2B5EF4-FFF2-40B4-BE49-F238E27FC236}">
                <a16:creationId xmlns:a16="http://schemas.microsoft.com/office/drawing/2014/main" id="{6BC610D1-575F-ECF6-2183-D2E011BBF205}"/>
              </a:ext>
            </a:extLst>
          </p:cNvPr>
          <p:cNvSpPr>
            <a:spLocks noGrp="1"/>
          </p:cNvSpPr>
          <p:nvPr>
            <p:custDataLst>
              <p:tags r:id="rId14"/>
            </p:custDataLst>
          </p:nvPr>
        </p:nvSpPr>
        <p:spPr bwMode="auto">
          <a:xfrm>
            <a:off x="3440113" y="5286375"/>
            <a:ext cx="6842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CC2633-1CF9-49C7-92CF-4766D18B9290}" type="datetime'T''a''''x ''''A''''''''m''''''''''o''''''u''n''''t'''''''">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Tax Amount</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Szöveg helye 2">
            <a:extLst>
              <a:ext uri="{FF2B5EF4-FFF2-40B4-BE49-F238E27FC236}">
                <a16:creationId xmlns:a16="http://schemas.microsoft.com/office/drawing/2014/main" id="{6BC610D1-575F-ECF6-2183-D2E011BBF205}"/>
              </a:ext>
            </a:extLst>
          </p:cNvPr>
          <p:cNvSpPr>
            <a:spLocks noGrp="1"/>
          </p:cNvSpPr>
          <p:nvPr>
            <p:custDataLst>
              <p:tags r:id="rId15"/>
            </p:custDataLst>
          </p:nvPr>
        </p:nvSpPr>
        <p:spPr bwMode="auto">
          <a:xfrm>
            <a:off x="3548064" y="5581650"/>
            <a:ext cx="576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FE27B8-CB63-453F-B19D-6D5AD2AD372A}" type="datetime'''''V''''e''''''''n''d''''o''r'''''''''' ''''ID'''''''''''''">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Vendor ID</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2" name="Szöveg helye 2">
            <a:extLst>
              <a:ext uri="{FF2B5EF4-FFF2-40B4-BE49-F238E27FC236}">
                <a16:creationId xmlns:a16="http://schemas.microsoft.com/office/drawing/2014/main" id="{6BC610D1-575F-ECF6-2183-D2E011BBF205}"/>
              </a:ext>
            </a:extLst>
          </p:cNvPr>
          <p:cNvSpPr>
            <a:spLocks noGrp="1"/>
          </p:cNvSpPr>
          <p:nvPr>
            <p:custDataLst>
              <p:tags r:id="rId16"/>
            </p:custDataLst>
          </p:nvPr>
        </p:nvSpPr>
        <p:spPr bwMode="auto">
          <a:xfrm>
            <a:off x="5619750" y="6067425"/>
            <a:ext cx="24130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a:effectLst/>
                <a:ea typeface="Lato" panose="020F0502020204030203" pitchFamily="34" charset="0"/>
                <a:cs typeface="Lato" panose="020F0502020204030203" pitchFamily="34" charset="0"/>
                <a:sym typeface="Lato" panose="020F0502020204030203" pitchFamily="34" charset="0"/>
              </a:rPr>
              <a:t>Ø </a:t>
            </a:r>
            <a:fld id="{3BCB5C98-654C-48AC-8EE4-15F0CB035385}" type="datetime'8''''''7'''''''''''''''''''''''">
              <a:rPr lang="en-GB" altLang="en-US" sz="800" dirty="0" smtClean="0">
                <a:effectLst/>
                <a:ea typeface="Lato" panose="020F0502020204030203" pitchFamily="34" charset="0"/>
                <a:cs typeface="Lato" panose="020F0502020204030203" pitchFamily="34" charset="0"/>
                <a:sym typeface="Lato" panose="020F0502020204030203" pitchFamily="34" charset="0"/>
              </a:rPr>
              <a:pPr marL="0" indent="0" algn="ctr">
                <a:spcBef>
                  <a:spcPct val="0"/>
                </a:spcBef>
                <a:spcAft>
                  <a:spcPct val="0"/>
                </a:spcAft>
                <a:buNone/>
              </a:pPr>
              <a:t>87</a:t>
            </a:fld>
            <a:endParaRPr lang="en-GB" sz="800">
              <a:ea typeface="Lato" panose="020F0502020204030203" pitchFamily="34" charset="0"/>
              <a:cs typeface="Lato" panose="020F0502020204030203" pitchFamily="34" charset="0"/>
              <a:sym typeface="Lato" panose="020F0502020204030203" pitchFamily="34" charset="0"/>
            </a:endParaRPr>
          </a:p>
        </p:txBody>
      </p:sp>
      <p:sp>
        <p:nvSpPr>
          <p:cNvPr id="25" name="Szöveg helye 2">
            <a:extLst>
              <a:ext uri="{FF2B5EF4-FFF2-40B4-BE49-F238E27FC236}">
                <a16:creationId xmlns:a16="http://schemas.microsoft.com/office/drawing/2014/main" id="{6BC610D1-575F-ECF6-2183-D2E011BBF205}"/>
              </a:ext>
            </a:extLst>
          </p:cNvPr>
          <p:cNvSpPr>
            <a:spLocks noGrp="1"/>
          </p:cNvSpPr>
          <p:nvPr>
            <p:custDataLst>
              <p:tags r:id="rId17"/>
            </p:custDataLst>
          </p:nvPr>
        </p:nvSpPr>
        <p:spPr bwMode="gray">
          <a:xfrm>
            <a:off x="5824538" y="3232150"/>
            <a:ext cx="158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973CEF1-A9FC-4B23-9082-FA4693FE42AD}" type="datetime'''''''''''''''''''90'''''''''''''''''''''''''''''''''''''''''">
              <a:rPr lang="en-GB" altLang="en-US" sz="800" smtClean="0">
                <a:effectLst/>
                <a:ea typeface="Lato" panose="020F0502020204030203" pitchFamily="34" charset="0"/>
                <a:cs typeface="Lato" panose="020F0502020204030203" pitchFamily="34" charset="0"/>
                <a:sym typeface="Open Sauce One" panose="00000500000000000000" pitchFamily="2" charset="0"/>
              </a:rPr>
              <a:pPr marL="0" indent="0">
                <a:spcBef>
                  <a:spcPct val="0"/>
                </a:spcBef>
                <a:spcAft>
                  <a:spcPct val="0"/>
                </a:spcAft>
                <a:buNone/>
              </a:pPr>
              <a:t>90</a:t>
            </a:fld>
            <a:endParaRPr lang="en-GB" sz="800">
              <a:ea typeface="Lato" panose="020F0502020204030203" pitchFamily="34" charset="0"/>
              <a:cs typeface="Lato" panose="020F0502020204030203" pitchFamily="34" charset="0"/>
              <a:sym typeface="Open Sauce One" panose="00000500000000000000" pitchFamily="2" charset="0"/>
            </a:endParaRPr>
          </a:p>
        </p:txBody>
      </p:sp>
      <p:sp>
        <p:nvSpPr>
          <p:cNvPr id="26" name="Szöveg helye 2">
            <a:extLst>
              <a:ext uri="{FF2B5EF4-FFF2-40B4-BE49-F238E27FC236}">
                <a16:creationId xmlns:a16="http://schemas.microsoft.com/office/drawing/2014/main" id="{6BC610D1-575F-ECF6-2183-D2E011BBF205}"/>
              </a:ext>
            </a:extLst>
          </p:cNvPr>
          <p:cNvSpPr>
            <a:spLocks noGrp="1"/>
          </p:cNvSpPr>
          <p:nvPr>
            <p:custDataLst>
              <p:tags r:id="rId18"/>
            </p:custDataLst>
          </p:nvPr>
        </p:nvSpPr>
        <p:spPr bwMode="gray">
          <a:xfrm>
            <a:off x="5945188" y="3529013"/>
            <a:ext cx="158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423D4D6-A729-411E-996F-1185DA8BA86A}" type="datetime'''''9''''''''''''''''''''''''''''''''''''''''''''7'''">
              <a:rPr lang="en-GB" altLang="en-US" sz="800" smtClean="0">
                <a:effectLst/>
                <a:ea typeface="Lato" panose="020F0502020204030203" pitchFamily="34" charset="0"/>
                <a:cs typeface="Lato" panose="020F0502020204030203" pitchFamily="34" charset="0"/>
                <a:sym typeface="Open Sauce One" panose="00000500000000000000" pitchFamily="2" charset="0"/>
              </a:rPr>
              <a:pPr marL="0" indent="0">
                <a:spcBef>
                  <a:spcPct val="0"/>
                </a:spcBef>
                <a:spcAft>
                  <a:spcPct val="0"/>
                </a:spcAft>
                <a:buNone/>
              </a:pPr>
              <a:t>97</a:t>
            </a:fld>
            <a:endParaRPr lang="en-GB" sz="800">
              <a:ea typeface="Lato" panose="020F0502020204030203" pitchFamily="34" charset="0"/>
              <a:cs typeface="Lato" panose="020F0502020204030203" pitchFamily="34" charset="0"/>
              <a:sym typeface="Open Sauce One" panose="00000500000000000000" pitchFamily="2" charset="0"/>
            </a:endParaRPr>
          </a:p>
        </p:txBody>
      </p:sp>
      <p:sp>
        <p:nvSpPr>
          <p:cNvPr id="27" name="Szöveg helye 2">
            <a:extLst>
              <a:ext uri="{FF2B5EF4-FFF2-40B4-BE49-F238E27FC236}">
                <a16:creationId xmlns:a16="http://schemas.microsoft.com/office/drawing/2014/main" id="{6BC610D1-575F-ECF6-2183-D2E011BBF205}"/>
              </a:ext>
            </a:extLst>
          </p:cNvPr>
          <p:cNvSpPr>
            <a:spLocks noGrp="1"/>
          </p:cNvSpPr>
          <p:nvPr>
            <p:custDataLst>
              <p:tags r:id="rId19"/>
            </p:custDataLst>
          </p:nvPr>
        </p:nvSpPr>
        <p:spPr bwMode="gray">
          <a:xfrm>
            <a:off x="5886450" y="3824288"/>
            <a:ext cx="158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468DBCB-C4D6-4FE0-B1BC-745E9FD2C412}" type="datetime'9''''''''3'''''''''''''''''''''''''''''''''''''''''''''''''''">
              <a:rPr lang="en-GB" altLang="en-US" sz="800" smtClean="0">
                <a:effectLst/>
                <a:ea typeface="Lato" panose="020F0502020204030203" pitchFamily="34" charset="0"/>
                <a:cs typeface="Lato" panose="020F0502020204030203" pitchFamily="34" charset="0"/>
                <a:sym typeface="Open Sauce One" panose="00000500000000000000" pitchFamily="2" charset="0"/>
              </a:rPr>
              <a:pPr marL="0" indent="0">
                <a:spcBef>
                  <a:spcPct val="0"/>
                </a:spcBef>
                <a:spcAft>
                  <a:spcPct val="0"/>
                </a:spcAft>
                <a:buNone/>
              </a:pPr>
              <a:t>93</a:t>
            </a:fld>
            <a:endParaRPr lang="en-GB" sz="800">
              <a:ea typeface="Lato" panose="020F0502020204030203" pitchFamily="34" charset="0"/>
              <a:cs typeface="Lato" panose="020F0502020204030203" pitchFamily="34" charset="0"/>
              <a:sym typeface="Open Sauce One" panose="00000500000000000000" pitchFamily="2" charset="0"/>
            </a:endParaRPr>
          </a:p>
        </p:txBody>
      </p:sp>
      <p:sp>
        <p:nvSpPr>
          <p:cNvPr id="28" name="Szöveg helye 2">
            <a:extLst>
              <a:ext uri="{FF2B5EF4-FFF2-40B4-BE49-F238E27FC236}">
                <a16:creationId xmlns:a16="http://schemas.microsoft.com/office/drawing/2014/main" id="{6BC610D1-575F-ECF6-2183-D2E011BBF205}"/>
              </a:ext>
            </a:extLst>
          </p:cNvPr>
          <p:cNvSpPr>
            <a:spLocks noGrp="1"/>
          </p:cNvSpPr>
          <p:nvPr>
            <p:custDataLst>
              <p:tags r:id="rId20"/>
            </p:custDataLst>
          </p:nvPr>
        </p:nvSpPr>
        <p:spPr bwMode="gray">
          <a:xfrm>
            <a:off x="5886450" y="4121150"/>
            <a:ext cx="158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60369CF-F5A3-4CEC-BB5E-58EE55331987}" type="datetime'''''''''''''''''''''''''''''''''''''''''9''4'''''''''''''''">
              <a:rPr lang="en-GB" altLang="en-US" sz="800" smtClean="0">
                <a:effectLst/>
                <a:ea typeface="Lato" panose="020F0502020204030203" pitchFamily="34" charset="0"/>
                <a:cs typeface="Lato" panose="020F0502020204030203" pitchFamily="34" charset="0"/>
                <a:sym typeface="Open Sauce One" panose="00000500000000000000" pitchFamily="2" charset="0"/>
              </a:rPr>
              <a:pPr marL="0" indent="0">
                <a:spcBef>
                  <a:spcPct val="0"/>
                </a:spcBef>
                <a:spcAft>
                  <a:spcPct val="0"/>
                </a:spcAft>
                <a:buNone/>
              </a:pPr>
              <a:t>94</a:t>
            </a:fld>
            <a:endParaRPr lang="en-GB" sz="800">
              <a:ea typeface="Lato" panose="020F0502020204030203" pitchFamily="34" charset="0"/>
              <a:cs typeface="Lato" panose="020F0502020204030203" pitchFamily="34" charset="0"/>
              <a:sym typeface="Open Sauce One" panose="00000500000000000000" pitchFamily="2" charset="0"/>
            </a:endParaRPr>
          </a:p>
        </p:txBody>
      </p:sp>
      <p:sp>
        <p:nvSpPr>
          <p:cNvPr id="29" name="Szöveg helye 2">
            <a:extLst>
              <a:ext uri="{FF2B5EF4-FFF2-40B4-BE49-F238E27FC236}">
                <a16:creationId xmlns:a16="http://schemas.microsoft.com/office/drawing/2014/main" id="{6BC610D1-575F-ECF6-2183-D2E011BBF205}"/>
              </a:ext>
            </a:extLst>
          </p:cNvPr>
          <p:cNvSpPr>
            <a:spLocks noGrp="1"/>
          </p:cNvSpPr>
          <p:nvPr>
            <p:custDataLst>
              <p:tags r:id="rId21"/>
            </p:custDataLst>
          </p:nvPr>
        </p:nvSpPr>
        <p:spPr bwMode="gray">
          <a:xfrm>
            <a:off x="5792788" y="4418013"/>
            <a:ext cx="158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78C8156-F24D-460E-9FF7-492CC808B64F}" type="datetime'''''''''''''8''''''''''''''8'''''''''">
              <a:rPr lang="en-GB" altLang="en-US" sz="800" smtClean="0">
                <a:effectLst/>
                <a:ea typeface="Lato" panose="020F0502020204030203" pitchFamily="34" charset="0"/>
                <a:cs typeface="Lato" panose="020F0502020204030203" pitchFamily="34" charset="0"/>
                <a:sym typeface="Open Sauce One" panose="00000500000000000000" pitchFamily="2" charset="0"/>
              </a:rPr>
              <a:pPr marL="0" indent="0">
                <a:spcBef>
                  <a:spcPct val="0"/>
                </a:spcBef>
                <a:spcAft>
                  <a:spcPct val="0"/>
                </a:spcAft>
                <a:buNone/>
              </a:pPr>
              <a:t>88</a:t>
            </a:fld>
            <a:endParaRPr lang="en-GB" sz="800">
              <a:ea typeface="Lato" panose="020F0502020204030203" pitchFamily="34" charset="0"/>
              <a:cs typeface="Lato" panose="020F0502020204030203" pitchFamily="34" charset="0"/>
              <a:sym typeface="Open Sauce One" panose="00000500000000000000" pitchFamily="2" charset="0"/>
            </a:endParaRPr>
          </a:p>
        </p:txBody>
      </p:sp>
      <p:sp>
        <p:nvSpPr>
          <p:cNvPr id="30" name="Szöveg helye 2">
            <a:extLst>
              <a:ext uri="{FF2B5EF4-FFF2-40B4-BE49-F238E27FC236}">
                <a16:creationId xmlns:a16="http://schemas.microsoft.com/office/drawing/2014/main" id="{6BC610D1-575F-ECF6-2183-D2E011BBF205}"/>
              </a:ext>
            </a:extLst>
          </p:cNvPr>
          <p:cNvSpPr>
            <a:spLocks noGrp="1"/>
          </p:cNvSpPr>
          <p:nvPr>
            <p:custDataLst>
              <p:tags r:id="rId22"/>
            </p:custDataLst>
          </p:nvPr>
        </p:nvSpPr>
        <p:spPr bwMode="gray">
          <a:xfrm>
            <a:off x="5932488" y="4713288"/>
            <a:ext cx="158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DA9ED79-E235-4D36-93E0-B76E9983863F}" type="datetime'''''''''''''''''''''''''''''''96'''''''''''">
              <a:rPr lang="en-GB" altLang="en-US" sz="800" smtClean="0">
                <a:effectLst/>
                <a:ea typeface="Lato" panose="020F0502020204030203" pitchFamily="34" charset="0"/>
                <a:cs typeface="Lato" panose="020F0502020204030203" pitchFamily="34" charset="0"/>
                <a:sym typeface="Open Sauce One" panose="00000500000000000000" pitchFamily="2" charset="0"/>
              </a:rPr>
              <a:pPr marL="0" indent="0">
                <a:spcBef>
                  <a:spcPct val="0"/>
                </a:spcBef>
                <a:spcAft>
                  <a:spcPct val="0"/>
                </a:spcAft>
                <a:buNone/>
              </a:pPr>
              <a:t>96</a:t>
            </a:fld>
            <a:endParaRPr lang="en-GB" sz="800">
              <a:ea typeface="Lato" panose="020F0502020204030203" pitchFamily="34" charset="0"/>
              <a:cs typeface="Lato" panose="020F0502020204030203" pitchFamily="34" charset="0"/>
              <a:sym typeface="Open Sauce One" panose="00000500000000000000" pitchFamily="2" charset="0"/>
            </a:endParaRPr>
          </a:p>
        </p:txBody>
      </p:sp>
      <p:sp>
        <p:nvSpPr>
          <p:cNvPr id="31" name="Szöveg helye 2">
            <a:extLst>
              <a:ext uri="{FF2B5EF4-FFF2-40B4-BE49-F238E27FC236}">
                <a16:creationId xmlns:a16="http://schemas.microsoft.com/office/drawing/2014/main" id="{6BC610D1-575F-ECF6-2183-D2E011BBF205}"/>
              </a:ext>
            </a:extLst>
          </p:cNvPr>
          <p:cNvSpPr>
            <a:spLocks noGrp="1"/>
          </p:cNvSpPr>
          <p:nvPr>
            <p:custDataLst>
              <p:tags r:id="rId23"/>
            </p:custDataLst>
          </p:nvPr>
        </p:nvSpPr>
        <p:spPr bwMode="gray">
          <a:xfrm>
            <a:off x="4995863" y="5010150"/>
            <a:ext cx="158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58C830B-0A85-4C9E-B95C-DBCB6F699A72}" type="datetime'''''''''''''''''''''''''''4''''''''''''''''3'''''''''">
              <a:rPr lang="en-GB" altLang="en-US" sz="800" smtClean="0">
                <a:effectLst/>
                <a:ea typeface="Lato" panose="020F0502020204030203" pitchFamily="34" charset="0"/>
                <a:cs typeface="Lato" panose="020F0502020204030203" pitchFamily="34" charset="0"/>
                <a:sym typeface="Open Sauce One" panose="00000500000000000000" pitchFamily="2" charset="0"/>
              </a:rPr>
              <a:pPr marL="0" indent="0">
                <a:spcBef>
                  <a:spcPct val="0"/>
                </a:spcBef>
                <a:spcAft>
                  <a:spcPct val="0"/>
                </a:spcAft>
                <a:buNone/>
              </a:pPr>
              <a:t>43</a:t>
            </a:fld>
            <a:endParaRPr lang="en-GB" sz="800">
              <a:ea typeface="Lato" panose="020F0502020204030203" pitchFamily="34" charset="0"/>
              <a:cs typeface="Lato" panose="020F0502020204030203" pitchFamily="34" charset="0"/>
              <a:sym typeface="Open Sauce One" panose="00000500000000000000" pitchFamily="2" charset="0"/>
            </a:endParaRPr>
          </a:p>
        </p:txBody>
      </p:sp>
      <p:sp>
        <p:nvSpPr>
          <p:cNvPr id="32" name="Szöveg helye 2">
            <a:extLst>
              <a:ext uri="{FF2B5EF4-FFF2-40B4-BE49-F238E27FC236}">
                <a16:creationId xmlns:a16="http://schemas.microsoft.com/office/drawing/2014/main" id="{6BC610D1-575F-ECF6-2183-D2E011BBF205}"/>
              </a:ext>
            </a:extLst>
          </p:cNvPr>
          <p:cNvSpPr>
            <a:spLocks noGrp="1"/>
          </p:cNvSpPr>
          <p:nvPr>
            <p:custDataLst>
              <p:tags r:id="rId24"/>
            </p:custDataLst>
          </p:nvPr>
        </p:nvSpPr>
        <p:spPr bwMode="gray">
          <a:xfrm>
            <a:off x="5718175" y="5307013"/>
            <a:ext cx="158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0189C9F-4949-44B4-9E0D-38B027B37AB5}" type="datetime'''''''''''''''8''4'''''''''''''''''''''''''''''''''">
              <a:rPr lang="en-GB" altLang="en-US" sz="800" smtClean="0">
                <a:effectLst/>
                <a:ea typeface="Lato" panose="020F0502020204030203" pitchFamily="34" charset="0"/>
                <a:cs typeface="Lato" panose="020F0502020204030203" pitchFamily="34" charset="0"/>
                <a:sym typeface="Open Sauce One" panose="00000500000000000000" pitchFamily="2" charset="0"/>
              </a:rPr>
              <a:pPr marL="0" indent="0">
                <a:spcBef>
                  <a:spcPct val="0"/>
                </a:spcBef>
                <a:spcAft>
                  <a:spcPct val="0"/>
                </a:spcAft>
                <a:buNone/>
              </a:pPr>
              <a:t>84</a:t>
            </a:fld>
            <a:endParaRPr lang="en-GB" sz="800">
              <a:ea typeface="Lato" panose="020F0502020204030203" pitchFamily="34" charset="0"/>
              <a:cs typeface="Lato" panose="020F0502020204030203" pitchFamily="34" charset="0"/>
              <a:sym typeface="Open Sauce One" panose="00000500000000000000" pitchFamily="2" charset="0"/>
            </a:endParaRPr>
          </a:p>
        </p:txBody>
      </p:sp>
      <p:sp>
        <p:nvSpPr>
          <p:cNvPr id="33" name="Szöveg helye 2">
            <a:extLst>
              <a:ext uri="{FF2B5EF4-FFF2-40B4-BE49-F238E27FC236}">
                <a16:creationId xmlns:a16="http://schemas.microsoft.com/office/drawing/2014/main" id="{6BC610D1-575F-ECF6-2183-D2E011BBF205}"/>
              </a:ext>
            </a:extLst>
          </p:cNvPr>
          <p:cNvSpPr>
            <a:spLocks noGrp="1"/>
          </p:cNvSpPr>
          <p:nvPr>
            <p:custDataLst>
              <p:tags r:id="rId25"/>
            </p:custDataLst>
          </p:nvPr>
        </p:nvSpPr>
        <p:spPr bwMode="gray">
          <a:xfrm>
            <a:off x="5907088" y="5602288"/>
            <a:ext cx="158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457718-41F6-4241-B4D4-79EF6B5D7825}" type="datetime'''''''''''''''''''''''''''''''9''5'''''''''">
              <a:rPr lang="en-GB" altLang="en-US" sz="800" smtClean="0">
                <a:effectLst/>
                <a:ea typeface="Lato" panose="020F0502020204030203" pitchFamily="34" charset="0"/>
                <a:cs typeface="Lato" panose="020F0502020204030203" pitchFamily="34" charset="0"/>
                <a:sym typeface="Open Sauce One" panose="00000500000000000000" pitchFamily="2" charset="0"/>
              </a:rPr>
              <a:pPr marL="0" indent="0">
                <a:spcBef>
                  <a:spcPct val="0"/>
                </a:spcBef>
                <a:spcAft>
                  <a:spcPct val="0"/>
                </a:spcAft>
                <a:buNone/>
              </a:pPr>
              <a:t>95</a:t>
            </a:fld>
            <a:endParaRPr lang="en-GB" sz="800">
              <a:ea typeface="Lato" panose="020F0502020204030203" pitchFamily="34" charset="0"/>
              <a:cs typeface="Lato" panose="020F0502020204030203" pitchFamily="34" charset="0"/>
              <a:sym typeface="Open Sauce One" panose="00000500000000000000" pitchFamily="2" charset="0"/>
            </a:endParaRPr>
          </a:p>
        </p:txBody>
      </p:sp>
      <p:graphicFrame>
        <p:nvGraphicFramePr>
          <p:cNvPr id="68" name="Chart 67">
            <a:extLst>
              <a:ext uri="{FF2B5EF4-FFF2-40B4-BE49-F238E27FC236}">
                <a16:creationId xmlns:a16="http://schemas.microsoft.com/office/drawing/2014/main" id="{DED162FC-9F02-AA8B-5BB5-FEC02D9DD083}"/>
              </a:ext>
            </a:extLst>
          </p:cNvPr>
          <p:cNvGraphicFramePr/>
          <p:nvPr>
            <p:custDataLst>
              <p:tags r:id="rId26"/>
            </p:custDataLst>
          </p:nvPr>
        </p:nvGraphicFramePr>
        <p:xfrm>
          <a:off x="7519988" y="3195638"/>
          <a:ext cx="3813175" cy="1147762"/>
        </p:xfrm>
        <a:graphic>
          <a:graphicData uri="http://schemas.openxmlformats.org/drawingml/2006/chart">
            <c:chart xmlns:c="http://schemas.openxmlformats.org/drawingml/2006/chart" xmlns:r="http://schemas.openxmlformats.org/officeDocument/2006/relationships" r:id="rId38"/>
          </a:graphicData>
        </a:graphic>
      </p:graphicFrame>
      <p:cxnSp>
        <p:nvCxnSpPr>
          <p:cNvPr id="144" name="Straight Connector 143">
            <a:extLst>
              <a:ext uri="{FF2B5EF4-FFF2-40B4-BE49-F238E27FC236}">
                <a16:creationId xmlns:a16="http://schemas.microsoft.com/office/drawing/2014/main" id="{AAC10577-7B24-7F6C-A333-DBACD3318F0A}"/>
              </a:ext>
            </a:extLst>
          </p:cNvPr>
          <p:cNvCxnSpPr/>
          <p:nvPr>
            <p:custDataLst>
              <p:tags r:id="rId27"/>
            </p:custDataLst>
          </p:nvPr>
        </p:nvCxnSpPr>
        <p:spPr bwMode="auto">
          <a:xfrm>
            <a:off x="10439400" y="3392488"/>
            <a:ext cx="406400" cy="0"/>
          </a:xfrm>
          <a:prstGeom prst="line">
            <a:avLst/>
          </a:prstGeom>
          <a:ln w="63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142A5F4D-5D6C-38A1-A063-0362DF40753E}"/>
              </a:ext>
            </a:extLst>
          </p:cNvPr>
          <p:cNvCxnSpPr/>
          <p:nvPr>
            <p:custDataLst>
              <p:tags r:id="rId28"/>
            </p:custDataLst>
          </p:nvPr>
        </p:nvCxnSpPr>
        <p:spPr bwMode="auto">
          <a:xfrm>
            <a:off x="10439400" y="3392488"/>
            <a:ext cx="0" cy="863600"/>
          </a:xfrm>
          <a:prstGeom prst="line">
            <a:avLst/>
          </a:prstGeom>
          <a:ln w="63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66445BBC-6D93-B7A7-7BBF-AD2D92F26000}"/>
              </a:ext>
            </a:extLst>
          </p:cNvPr>
          <p:cNvCxnSpPr/>
          <p:nvPr>
            <p:custDataLst>
              <p:tags r:id="rId29"/>
            </p:custDataLst>
          </p:nvPr>
        </p:nvCxnSpPr>
        <p:spPr bwMode="auto">
          <a:xfrm>
            <a:off x="10845800" y="3392488"/>
            <a:ext cx="0" cy="863600"/>
          </a:xfrm>
          <a:prstGeom prst="line">
            <a:avLst/>
          </a:prstGeom>
          <a:ln w="63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6" name="Textplatzhalter 2">
            <a:extLst>
              <a:ext uri="{FF2B5EF4-FFF2-40B4-BE49-F238E27FC236}">
                <a16:creationId xmlns:a16="http://schemas.microsoft.com/office/drawing/2014/main" id="{53646026-D5BD-427B-BB82-1D999EE2B074}"/>
              </a:ext>
            </a:extLst>
          </p:cNvPr>
          <p:cNvSpPr>
            <a:spLocks noGrp="1"/>
          </p:cNvSpPr>
          <p:nvPr>
            <p:custDataLst>
              <p:tags r:id="rId30"/>
            </p:custDataLst>
          </p:nvPr>
        </p:nvSpPr>
        <p:spPr bwMode="auto">
          <a:xfrm>
            <a:off x="7899400" y="4303712"/>
            <a:ext cx="6238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DCAF8F9-9B35-498C-A08F-3A2FE940C3C8}" type="datetime'''''''''P''OV'''' M''''''''o''''de''''''''l '''''''''''">
              <a:rPr lang="en-US" altLang="en-US" sz="1000" dirty="0" smtClean="0">
                <a:solidFill>
                  <a:srgbClr val="000000"/>
                </a:solidFill>
                <a:latin typeface="Open Sauce One" panose="020B0604020202020204"/>
              </a:rPr>
              <a:pPr marL="0" lvl="0" indent="0" algn="ctr">
                <a:spcBef>
                  <a:spcPct val="0"/>
                </a:spcBef>
                <a:spcAft>
                  <a:spcPct val="0"/>
                </a:spcAft>
                <a:buNone/>
                <a:defRPr/>
              </a:pPr>
              <a:t>POV Model </a:t>
            </a:fld>
            <a:br>
              <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rPr>
            </a:br>
            <a:endPar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endParaRPr>
          </a:p>
        </p:txBody>
      </p:sp>
      <p:sp>
        <p:nvSpPr>
          <p:cNvPr id="177" name="Textplatzhalter 2">
            <a:extLst>
              <a:ext uri="{FF2B5EF4-FFF2-40B4-BE49-F238E27FC236}">
                <a16:creationId xmlns:a16="http://schemas.microsoft.com/office/drawing/2014/main" id="{94868B19-2A17-409E-A2B4-298EBEA5A0D0}"/>
              </a:ext>
            </a:extLst>
          </p:cNvPr>
          <p:cNvSpPr>
            <a:spLocks noGrp="1"/>
          </p:cNvSpPr>
          <p:nvPr>
            <p:custDataLst>
              <p:tags r:id="rId31"/>
            </p:custDataLst>
          </p:nvPr>
        </p:nvSpPr>
        <p:spPr bwMode="auto">
          <a:xfrm>
            <a:off x="8907463" y="4303712"/>
            <a:ext cx="10382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93610F9-43DD-4ADE-8271-B3382F84F1D1}" type="datetime'Pi''l''o''''t ''N''''''''''''''''o''''''n-''''P''O Mo''del'''">
              <a:rPr lang="en-US" altLang="en-US" sz="1000" dirty="0" smtClean="0">
                <a:solidFill>
                  <a:srgbClr val="000000"/>
                </a:solidFill>
                <a:latin typeface="Open Sauce One" panose="020B0604020202020204"/>
              </a:rPr>
              <a:pPr marL="0" lvl="0" indent="0" algn="ctr">
                <a:spcBef>
                  <a:spcPct val="0"/>
                </a:spcBef>
                <a:spcAft>
                  <a:spcPct val="0"/>
                </a:spcAft>
                <a:buNone/>
                <a:defRPr/>
              </a:pPr>
              <a:t>Pilot Non-PO Model</a:t>
            </a:fld>
            <a:br>
              <a:rPr lang="en-US" altLang="en-US" sz="1000">
                <a:solidFill>
                  <a:srgbClr val="000000"/>
                </a:solidFill>
                <a:latin typeface="Open Sauce One" panose="020B0604020202020204"/>
              </a:rPr>
            </a:br>
            <a:endPar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endParaRPr>
          </a:p>
        </p:txBody>
      </p:sp>
      <p:sp>
        <p:nvSpPr>
          <p:cNvPr id="117" name="Textplatzhalter 2">
            <a:extLst>
              <a:ext uri="{FF2B5EF4-FFF2-40B4-BE49-F238E27FC236}">
                <a16:creationId xmlns:a16="http://schemas.microsoft.com/office/drawing/2014/main" id="{374E25A2-B464-985B-C647-30C6D5A8CEA6}"/>
              </a:ext>
            </a:extLst>
          </p:cNvPr>
          <p:cNvSpPr>
            <a:spLocks noGrp="1"/>
          </p:cNvSpPr>
          <p:nvPr>
            <p:custDataLst>
              <p:tags r:id="rId32"/>
            </p:custDataLst>
          </p:nvPr>
        </p:nvSpPr>
        <p:spPr bwMode="auto">
          <a:xfrm>
            <a:off x="10137775" y="4303714"/>
            <a:ext cx="1009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E2711C9-80F4-4468-B680-70C54C046EE0}" type="datetime'C''o''n''''ti''''nua''''''''''l'' ''''L''earni''ng'' '''''">
              <a:rPr lang="en-US" altLang="en-US" sz="1000" dirty="0" smtClean="0">
                <a:solidFill>
                  <a:srgbClr val="000000"/>
                </a:solidFill>
                <a:latin typeface="Open Sauce One" panose="020B0604020202020204"/>
              </a:rPr>
              <a:pPr marL="0" lvl="0" indent="0" algn="ctr">
                <a:spcBef>
                  <a:spcPct val="0"/>
                </a:spcBef>
                <a:spcAft>
                  <a:spcPct val="0"/>
                </a:spcAft>
                <a:buNone/>
                <a:defRPr/>
              </a:pPr>
              <a:t>Continual Learning </a:t>
            </a:fld>
            <a:endPar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endParaRPr>
          </a:p>
        </p:txBody>
      </p:sp>
      <p:sp>
        <p:nvSpPr>
          <p:cNvPr id="50" name="Lekerekített téglalap 20">
            <a:extLst>
              <a:ext uri="{FF2B5EF4-FFF2-40B4-BE49-F238E27FC236}">
                <a16:creationId xmlns:a16="http://schemas.microsoft.com/office/drawing/2014/main" id="{24F2D7C4-C532-4870-ABEB-1FF91693D4AF}"/>
              </a:ext>
            </a:extLst>
          </p:cNvPr>
          <p:cNvSpPr/>
          <p:nvPr/>
        </p:nvSpPr>
        <p:spPr>
          <a:xfrm>
            <a:off x="10175925" y="428335"/>
            <a:ext cx="1573161" cy="346234"/>
          </a:xfrm>
          <a:prstGeom prst="roundRect">
            <a:avLst>
              <a:gd name="adj" fmla="val 50000"/>
            </a:avLst>
          </a:prstGeom>
          <a:no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en-US" sz="1000">
                <a:solidFill>
                  <a:schemeClr val="tx2"/>
                </a:solidFill>
                <a:latin typeface="Open Sauce One" pitchFamily="2" charset="0"/>
              </a:rPr>
              <a:t>Capturing Quality </a:t>
            </a:r>
            <a:endParaRPr lang="en-GB" sz="1000">
              <a:solidFill>
                <a:schemeClr val="tx2"/>
              </a:solidFill>
              <a:latin typeface="Open Sauce One" pitchFamily="2" charset="0"/>
            </a:endParaRPr>
          </a:p>
        </p:txBody>
      </p:sp>
      <p:sp>
        <p:nvSpPr>
          <p:cNvPr id="52" name="Lekerekített téglalap 5">
            <a:extLst>
              <a:ext uri="{FF2B5EF4-FFF2-40B4-BE49-F238E27FC236}">
                <a16:creationId xmlns:a16="http://schemas.microsoft.com/office/drawing/2014/main" id="{4B2D0DFB-03E2-4696-9D10-D774772F7067}"/>
              </a:ext>
            </a:extLst>
          </p:cNvPr>
          <p:cNvSpPr/>
          <p:nvPr/>
        </p:nvSpPr>
        <p:spPr>
          <a:xfrm>
            <a:off x="604911" y="1943918"/>
            <a:ext cx="1617784" cy="372346"/>
          </a:xfrm>
          <a:prstGeom prst="roundRect">
            <a:avLst>
              <a:gd name="adj" fmla="val 50000"/>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Open Sauce One" pitchFamily="2" charset="0"/>
              </a:rPr>
              <a:t>Hypothesis 1</a:t>
            </a:r>
          </a:p>
        </p:txBody>
      </p:sp>
      <p:sp>
        <p:nvSpPr>
          <p:cNvPr id="53" name="TextBox 52">
            <a:extLst>
              <a:ext uri="{FF2B5EF4-FFF2-40B4-BE49-F238E27FC236}">
                <a16:creationId xmlns:a16="http://schemas.microsoft.com/office/drawing/2014/main" id="{5D7EC723-B586-4470-A55A-1EAC7DE3F919}"/>
              </a:ext>
            </a:extLst>
          </p:cNvPr>
          <p:cNvSpPr txBox="1"/>
          <p:nvPr/>
        </p:nvSpPr>
        <p:spPr>
          <a:xfrm>
            <a:off x="3312313" y="2502663"/>
            <a:ext cx="3802825" cy="461665"/>
          </a:xfrm>
          <a:prstGeom prst="rect">
            <a:avLst/>
          </a:prstGeom>
          <a:noFill/>
        </p:spPr>
        <p:txBody>
          <a:bodyPr wrap="square">
            <a:spAutoFit/>
          </a:bodyPr>
          <a:lstStyle/>
          <a:p>
            <a:r>
              <a:rPr lang="en-US" sz="1200" b="1">
                <a:latin typeface="Open Sauce One" pitchFamily="2" charset="0"/>
              </a:rPr>
              <a:t>Posting Data Match Results</a:t>
            </a:r>
          </a:p>
          <a:p>
            <a:r>
              <a:rPr lang="en-US" sz="1200">
                <a:latin typeface="Open Sauce One" pitchFamily="2" charset="0"/>
              </a:rPr>
              <a:t>% accurate automation results</a:t>
            </a:r>
          </a:p>
        </p:txBody>
      </p:sp>
      <p:sp>
        <p:nvSpPr>
          <p:cNvPr id="54" name="TextBox 53">
            <a:extLst>
              <a:ext uri="{FF2B5EF4-FFF2-40B4-BE49-F238E27FC236}">
                <a16:creationId xmlns:a16="http://schemas.microsoft.com/office/drawing/2014/main" id="{8FD47743-7B72-4035-9075-CB7367824CE4}"/>
              </a:ext>
            </a:extLst>
          </p:cNvPr>
          <p:cNvSpPr txBox="1"/>
          <p:nvPr/>
        </p:nvSpPr>
        <p:spPr>
          <a:xfrm>
            <a:off x="7571231" y="2502663"/>
            <a:ext cx="3493844" cy="461665"/>
          </a:xfrm>
          <a:prstGeom prst="rect">
            <a:avLst/>
          </a:prstGeom>
          <a:noFill/>
        </p:spPr>
        <p:txBody>
          <a:bodyPr wrap="square">
            <a:spAutoFit/>
          </a:bodyPr>
          <a:lstStyle/>
          <a:p>
            <a:r>
              <a:rPr lang="en-US" sz="1200" b="1">
                <a:latin typeface="Open Sauce One" pitchFamily="2" charset="0"/>
              </a:rPr>
              <a:t>Observed and expected pass-through rates on document level </a:t>
            </a:r>
            <a:r>
              <a:rPr lang="en-US" sz="1200">
                <a:latin typeface="Open Sauce One" pitchFamily="2" charset="0"/>
              </a:rPr>
              <a:t>(in %)</a:t>
            </a:r>
          </a:p>
        </p:txBody>
      </p:sp>
      <p:cxnSp>
        <p:nvCxnSpPr>
          <p:cNvPr id="55" name="Straight Connector 54">
            <a:extLst>
              <a:ext uri="{FF2B5EF4-FFF2-40B4-BE49-F238E27FC236}">
                <a16:creationId xmlns:a16="http://schemas.microsoft.com/office/drawing/2014/main" id="{E3ED99CD-D6EE-4DD1-AF3C-5B6C9DD185D8}"/>
              </a:ext>
            </a:extLst>
          </p:cNvPr>
          <p:cNvCxnSpPr>
            <a:cxnSpLocks/>
          </p:cNvCxnSpPr>
          <p:nvPr/>
        </p:nvCxnSpPr>
        <p:spPr>
          <a:xfrm>
            <a:off x="7130319" y="2502663"/>
            <a:ext cx="0" cy="339187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6" name="Isosceles Triangle 55">
            <a:extLst>
              <a:ext uri="{FF2B5EF4-FFF2-40B4-BE49-F238E27FC236}">
                <a16:creationId xmlns:a16="http://schemas.microsoft.com/office/drawing/2014/main" id="{D113C61A-4B94-4388-B58C-47E4DD003B60}"/>
              </a:ext>
            </a:extLst>
          </p:cNvPr>
          <p:cNvSpPr/>
          <p:nvPr/>
        </p:nvSpPr>
        <p:spPr>
          <a:xfrm rot="5400000">
            <a:off x="7116541" y="4054685"/>
            <a:ext cx="210702" cy="183146"/>
          </a:xfrm>
          <a:prstGeom prst="triangl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Open Sauce One" pitchFamily="2" charset="0"/>
              <a:ea typeface="+mn-ea"/>
              <a:cs typeface="+mn-cs"/>
            </a:endParaRPr>
          </a:p>
        </p:txBody>
      </p:sp>
      <p:sp>
        <p:nvSpPr>
          <p:cNvPr id="78" name="Rectangle: Rounded Corners 77">
            <a:extLst>
              <a:ext uri="{FF2B5EF4-FFF2-40B4-BE49-F238E27FC236}">
                <a16:creationId xmlns:a16="http://schemas.microsoft.com/office/drawing/2014/main" id="{A8859266-1F16-4BCB-85E6-AF14E7CD79FC}"/>
              </a:ext>
            </a:extLst>
          </p:cNvPr>
          <p:cNvSpPr/>
          <p:nvPr/>
        </p:nvSpPr>
        <p:spPr>
          <a:xfrm>
            <a:off x="6316007" y="3232637"/>
            <a:ext cx="373399"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3716</a:t>
            </a:r>
          </a:p>
        </p:txBody>
      </p:sp>
      <p:sp>
        <p:nvSpPr>
          <p:cNvPr id="79" name="Rectangle: Rounded Corners 78">
            <a:extLst>
              <a:ext uri="{FF2B5EF4-FFF2-40B4-BE49-F238E27FC236}">
                <a16:creationId xmlns:a16="http://schemas.microsoft.com/office/drawing/2014/main" id="{40C9C3A9-D62B-432C-9B3F-4C44D5327BA3}"/>
              </a:ext>
            </a:extLst>
          </p:cNvPr>
          <p:cNvSpPr/>
          <p:nvPr/>
        </p:nvSpPr>
        <p:spPr>
          <a:xfrm>
            <a:off x="6316007" y="3516778"/>
            <a:ext cx="407911"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032</a:t>
            </a:r>
          </a:p>
        </p:txBody>
      </p:sp>
      <p:sp>
        <p:nvSpPr>
          <p:cNvPr id="80" name="Rectangle: Rounded Corners 79">
            <a:extLst>
              <a:ext uri="{FF2B5EF4-FFF2-40B4-BE49-F238E27FC236}">
                <a16:creationId xmlns:a16="http://schemas.microsoft.com/office/drawing/2014/main" id="{39D1522A-3A07-40A5-B77A-DAED9181CF7E}"/>
              </a:ext>
            </a:extLst>
          </p:cNvPr>
          <p:cNvSpPr/>
          <p:nvPr/>
        </p:nvSpPr>
        <p:spPr>
          <a:xfrm>
            <a:off x="6316008" y="3814396"/>
            <a:ext cx="37339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290</a:t>
            </a:r>
          </a:p>
        </p:txBody>
      </p:sp>
      <p:sp>
        <p:nvSpPr>
          <p:cNvPr id="81" name="Rectangle: Rounded Corners 80">
            <a:extLst>
              <a:ext uri="{FF2B5EF4-FFF2-40B4-BE49-F238E27FC236}">
                <a16:creationId xmlns:a16="http://schemas.microsoft.com/office/drawing/2014/main" id="{4F4FD238-5C38-4227-B0D0-B6A83AEE6F9A}"/>
              </a:ext>
            </a:extLst>
          </p:cNvPr>
          <p:cNvSpPr/>
          <p:nvPr/>
        </p:nvSpPr>
        <p:spPr>
          <a:xfrm>
            <a:off x="6316007" y="4100123"/>
            <a:ext cx="373393"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245</a:t>
            </a:r>
          </a:p>
        </p:txBody>
      </p:sp>
      <p:sp>
        <p:nvSpPr>
          <p:cNvPr id="82" name="Rectangle: Rounded Corners 81">
            <a:extLst>
              <a:ext uri="{FF2B5EF4-FFF2-40B4-BE49-F238E27FC236}">
                <a16:creationId xmlns:a16="http://schemas.microsoft.com/office/drawing/2014/main" id="{C2E8AD4C-CE43-4AA6-9BA0-B815BE50781D}"/>
              </a:ext>
            </a:extLst>
          </p:cNvPr>
          <p:cNvSpPr/>
          <p:nvPr/>
        </p:nvSpPr>
        <p:spPr>
          <a:xfrm>
            <a:off x="6316007" y="4427536"/>
            <a:ext cx="373391"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228</a:t>
            </a:r>
          </a:p>
        </p:txBody>
      </p:sp>
      <p:sp>
        <p:nvSpPr>
          <p:cNvPr id="83" name="Rectangle: Rounded Corners 82">
            <a:extLst>
              <a:ext uri="{FF2B5EF4-FFF2-40B4-BE49-F238E27FC236}">
                <a16:creationId xmlns:a16="http://schemas.microsoft.com/office/drawing/2014/main" id="{52EF70AE-1DE8-44FB-83B6-C97B9E5E4ADF}"/>
              </a:ext>
            </a:extLst>
          </p:cNvPr>
          <p:cNvSpPr/>
          <p:nvPr/>
        </p:nvSpPr>
        <p:spPr>
          <a:xfrm>
            <a:off x="6323556" y="5003821"/>
            <a:ext cx="365840"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165</a:t>
            </a:r>
          </a:p>
        </p:txBody>
      </p:sp>
      <p:sp>
        <p:nvSpPr>
          <p:cNvPr id="84" name="Rectangle: Rounded Corners 83">
            <a:extLst>
              <a:ext uri="{FF2B5EF4-FFF2-40B4-BE49-F238E27FC236}">
                <a16:creationId xmlns:a16="http://schemas.microsoft.com/office/drawing/2014/main" id="{7C33D44A-944A-4956-B85A-38DAF1DD0350}"/>
              </a:ext>
            </a:extLst>
          </p:cNvPr>
          <p:cNvSpPr/>
          <p:nvPr/>
        </p:nvSpPr>
        <p:spPr>
          <a:xfrm>
            <a:off x="6316007" y="5300683"/>
            <a:ext cx="373385"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2213</a:t>
            </a:r>
          </a:p>
        </p:txBody>
      </p:sp>
      <p:sp>
        <p:nvSpPr>
          <p:cNvPr id="85" name="Rectangle: Rounded Corners 84">
            <a:extLst>
              <a:ext uri="{FF2B5EF4-FFF2-40B4-BE49-F238E27FC236}">
                <a16:creationId xmlns:a16="http://schemas.microsoft.com/office/drawing/2014/main" id="{4A24A518-53DB-4D15-9F93-937B9056162A}"/>
              </a:ext>
            </a:extLst>
          </p:cNvPr>
          <p:cNvSpPr/>
          <p:nvPr/>
        </p:nvSpPr>
        <p:spPr>
          <a:xfrm>
            <a:off x="6316007" y="5586410"/>
            <a:ext cx="373383"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415</a:t>
            </a:r>
          </a:p>
        </p:txBody>
      </p:sp>
      <p:sp>
        <p:nvSpPr>
          <p:cNvPr id="87" name="TextBox 86">
            <a:extLst>
              <a:ext uri="{FF2B5EF4-FFF2-40B4-BE49-F238E27FC236}">
                <a16:creationId xmlns:a16="http://schemas.microsoft.com/office/drawing/2014/main" id="{09E59149-9944-4557-BB84-61D11D972AA8}"/>
              </a:ext>
            </a:extLst>
          </p:cNvPr>
          <p:cNvSpPr txBox="1"/>
          <p:nvPr/>
        </p:nvSpPr>
        <p:spPr>
          <a:xfrm>
            <a:off x="5475950" y="2916035"/>
            <a:ext cx="1874825" cy="215444"/>
          </a:xfrm>
          <a:prstGeom prst="rect">
            <a:avLst/>
          </a:prstGeom>
          <a:noFill/>
        </p:spPr>
        <p:txBody>
          <a:bodyPr wrap="square">
            <a:spAutoFit/>
          </a:bodyPr>
          <a:lstStyle/>
          <a:p>
            <a:pPr algn="ctr"/>
            <a:r>
              <a:rPr lang="en-US" sz="800">
                <a:solidFill>
                  <a:schemeClr val="bg1">
                    <a:lumMod val="50000"/>
                  </a:schemeClr>
                </a:solidFill>
                <a:latin typeface="Open Sauce One" pitchFamily="2" charset="0"/>
              </a:rPr>
              <a:t>Testing Documents</a:t>
            </a:r>
          </a:p>
        </p:txBody>
      </p:sp>
      <p:sp>
        <p:nvSpPr>
          <p:cNvPr id="88" name="Rectangle 241">
            <a:extLst>
              <a:ext uri="{FF2B5EF4-FFF2-40B4-BE49-F238E27FC236}">
                <a16:creationId xmlns:a16="http://schemas.microsoft.com/office/drawing/2014/main" id="{83D1E047-8DAB-426C-8F16-9B346834FE16}"/>
              </a:ext>
            </a:extLst>
          </p:cNvPr>
          <p:cNvSpPr/>
          <p:nvPr/>
        </p:nvSpPr>
        <p:spPr>
          <a:xfrm>
            <a:off x="7571231" y="4593760"/>
            <a:ext cx="3873080" cy="1680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a:solidFill>
                  <a:schemeClr val="accent4"/>
                </a:solidFill>
                <a:latin typeface="Open Sauce One" panose="020B0604020202020204"/>
              </a:rPr>
              <a:t>Comments</a:t>
            </a:r>
          </a:p>
          <a:p>
            <a:endParaRPr lang="en-GB" sz="500" b="1">
              <a:solidFill>
                <a:schemeClr val="accent4"/>
              </a:solidFill>
              <a:latin typeface="Open Sauce One" panose="020B0604020202020204"/>
            </a:endParaRPr>
          </a:p>
          <a:p>
            <a:pPr marL="136525" indent="-136525">
              <a:buFont typeface="Arial" panose="020B0604020202020204" pitchFamily="34" charset="0"/>
              <a:buChar char="•"/>
            </a:pPr>
            <a:r>
              <a:rPr lang="en-US" sz="900">
                <a:solidFill>
                  <a:schemeClr val="bg1">
                    <a:lumMod val="50000"/>
                  </a:schemeClr>
                </a:solidFill>
                <a:latin typeface="Open Sauce One" pitchFamily="2" charset="0"/>
              </a:rPr>
              <a:t>Misc Charges and Tax amount require additional training data.</a:t>
            </a:r>
          </a:p>
          <a:p>
            <a:pPr marL="136525" indent="-136525">
              <a:buFont typeface="Arial" panose="020B0604020202020204" pitchFamily="34" charset="0"/>
              <a:buChar char="•"/>
            </a:pPr>
            <a:r>
              <a:rPr lang="en-US" sz="900">
                <a:solidFill>
                  <a:schemeClr val="bg1">
                    <a:lumMod val="50000"/>
                  </a:schemeClr>
                </a:solidFill>
                <a:latin typeface="Open Sauce One" pitchFamily="2" charset="0"/>
              </a:rPr>
              <a:t>Observed 3 interesting cases on GL String :</a:t>
            </a:r>
          </a:p>
          <a:p>
            <a:pPr marL="171450" lvl="1" indent="114300">
              <a:buFont typeface="Arial" panose="020B0604020202020204" pitchFamily="34" charset="0"/>
              <a:buChar char="•"/>
            </a:pPr>
            <a:r>
              <a:rPr lang="en-US" sz="900">
                <a:solidFill>
                  <a:schemeClr val="bg1">
                    <a:lumMod val="50000"/>
                  </a:schemeClr>
                </a:solidFill>
                <a:latin typeface="Open Sauce One" pitchFamily="2" charset="0"/>
              </a:rPr>
              <a:t>Last 5 digits presented on ERP Posting data are not presented on the document: </a:t>
            </a:r>
            <a:r>
              <a:rPr lang="en-US" sz="900">
                <a:solidFill>
                  <a:schemeClr val="bg1">
                    <a:lumMod val="50000"/>
                  </a:schemeClr>
                </a:solidFill>
                <a:latin typeface="Open Sauce One" pitchFamily="2" charset="0"/>
                <a:hlinkClick r:id="rId39"/>
              </a:rPr>
              <a:t>example1</a:t>
            </a:r>
            <a:r>
              <a:rPr lang="en-US" sz="900">
                <a:solidFill>
                  <a:schemeClr val="bg1">
                    <a:lumMod val="50000"/>
                  </a:schemeClr>
                </a:solidFill>
                <a:latin typeface="Open Sauce One" pitchFamily="2" charset="0"/>
              </a:rPr>
              <a:t> </a:t>
            </a:r>
          </a:p>
          <a:p>
            <a:pPr marL="171450" lvl="1" indent="114300">
              <a:buFont typeface="Arial" panose="020B0604020202020204" pitchFamily="34" charset="0"/>
              <a:buChar char="•"/>
            </a:pPr>
            <a:r>
              <a:rPr lang="en-US" sz="900">
                <a:solidFill>
                  <a:schemeClr val="bg1">
                    <a:lumMod val="50000"/>
                  </a:schemeClr>
                </a:solidFill>
                <a:latin typeface="Open Sauce One" panose="020B0604020202020204"/>
              </a:rPr>
              <a:t>97% of the c</a:t>
            </a:r>
            <a:r>
              <a:rPr lang="en-US" sz="900" b="0" i="0">
                <a:solidFill>
                  <a:schemeClr val="bg1">
                    <a:lumMod val="50000"/>
                  </a:schemeClr>
                </a:solidFill>
                <a:effectLst/>
                <a:latin typeface="Open Sauce One" panose="020B0604020202020204"/>
              </a:rPr>
              <a:t>aptured value is correct in the document. However, it mismatch with the ERP posting data</a:t>
            </a:r>
            <a:r>
              <a:rPr lang="en-US" sz="900">
                <a:solidFill>
                  <a:schemeClr val="bg1">
                    <a:lumMod val="50000"/>
                  </a:schemeClr>
                </a:solidFill>
                <a:latin typeface="Open Sauce One" pitchFamily="2" charset="0"/>
              </a:rPr>
              <a:t>:</a:t>
            </a:r>
            <a:r>
              <a:rPr lang="en-US" sz="900">
                <a:solidFill>
                  <a:schemeClr val="bg1">
                    <a:lumMod val="50000"/>
                  </a:schemeClr>
                </a:solidFill>
                <a:latin typeface="Open Sauce One" pitchFamily="2" charset="0"/>
                <a:hlinkClick r:id="rId40"/>
              </a:rPr>
              <a:t>example2</a:t>
            </a:r>
            <a:r>
              <a:rPr lang="en-US" sz="900">
                <a:solidFill>
                  <a:schemeClr val="bg1">
                    <a:lumMod val="50000"/>
                  </a:schemeClr>
                </a:solidFill>
                <a:latin typeface="Open Sauce One" pitchFamily="2" charset="0"/>
              </a:rPr>
              <a:t> , </a:t>
            </a:r>
            <a:r>
              <a:rPr lang="en-US" sz="900">
                <a:solidFill>
                  <a:schemeClr val="bg1">
                    <a:lumMod val="50000"/>
                  </a:schemeClr>
                </a:solidFill>
                <a:latin typeface="Open Sauce One" pitchFamily="2" charset="0"/>
                <a:hlinkClick r:id="rId41"/>
              </a:rPr>
              <a:t>example3</a:t>
            </a:r>
            <a:r>
              <a:rPr lang="en-US" sz="900">
                <a:solidFill>
                  <a:schemeClr val="bg1">
                    <a:lumMod val="50000"/>
                  </a:schemeClr>
                </a:solidFill>
                <a:latin typeface="Open Sauce One" pitchFamily="2" charset="0"/>
              </a:rPr>
              <a:t>, </a:t>
            </a:r>
            <a:r>
              <a:rPr lang="en-US" sz="900">
                <a:solidFill>
                  <a:schemeClr val="bg1">
                    <a:lumMod val="50000"/>
                  </a:schemeClr>
                </a:solidFill>
                <a:latin typeface="Open Sauce One" pitchFamily="2" charset="0"/>
                <a:hlinkClick r:id="rId42"/>
              </a:rPr>
              <a:t>example4</a:t>
            </a:r>
            <a:r>
              <a:rPr lang="en-US" sz="900">
                <a:solidFill>
                  <a:schemeClr val="bg1">
                    <a:lumMod val="50000"/>
                  </a:schemeClr>
                </a:solidFill>
                <a:latin typeface="Open Sauce One" pitchFamily="2" charset="0"/>
              </a:rPr>
              <a:t>, </a:t>
            </a:r>
            <a:r>
              <a:rPr lang="en-US" sz="900">
                <a:solidFill>
                  <a:schemeClr val="bg1">
                    <a:lumMod val="50000"/>
                  </a:schemeClr>
                </a:solidFill>
                <a:latin typeface="Open Sauce One" pitchFamily="2" charset="0"/>
                <a:hlinkClick r:id="rId43"/>
              </a:rPr>
              <a:t>example5</a:t>
            </a:r>
            <a:r>
              <a:rPr lang="en-US" sz="900">
                <a:solidFill>
                  <a:schemeClr val="bg1">
                    <a:lumMod val="50000"/>
                  </a:schemeClr>
                </a:solidFill>
                <a:latin typeface="Open Sauce One" pitchFamily="2" charset="0"/>
              </a:rPr>
              <a:t>, </a:t>
            </a:r>
            <a:r>
              <a:rPr lang="en-US" sz="900">
                <a:solidFill>
                  <a:schemeClr val="bg1">
                    <a:lumMod val="50000"/>
                  </a:schemeClr>
                </a:solidFill>
                <a:latin typeface="Open Sauce One" pitchFamily="2" charset="0"/>
                <a:hlinkClick r:id="rId44"/>
              </a:rPr>
              <a:t>example6</a:t>
            </a:r>
            <a:endParaRPr lang="en-US" sz="900">
              <a:solidFill>
                <a:schemeClr val="bg1">
                  <a:lumMod val="50000"/>
                </a:schemeClr>
              </a:solidFill>
              <a:latin typeface="Open Sauce One" pitchFamily="2" charset="0"/>
            </a:endParaRPr>
          </a:p>
          <a:p>
            <a:pPr marL="171450" lvl="1" indent="114300">
              <a:buFont typeface="Arial" panose="020B0604020202020204" pitchFamily="34" charset="0"/>
              <a:buChar char="•"/>
            </a:pPr>
            <a:endParaRPr lang="en-US" sz="900">
              <a:solidFill>
                <a:schemeClr val="bg1">
                  <a:lumMod val="50000"/>
                </a:schemeClr>
              </a:solidFill>
              <a:latin typeface="Open Sauce One" pitchFamily="2" charset="0"/>
            </a:endParaRPr>
          </a:p>
          <a:p>
            <a:pPr marL="171450" lvl="1" indent="114300">
              <a:buFont typeface="Arial" panose="020B0604020202020204" pitchFamily="34" charset="0"/>
              <a:buChar char="•"/>
            </a:pPr>
            <a:endParaRPr lang="en-US" sz="900">
              <a:solidFill>
                <a:schemeClr val="bg1">
                  <a:lumMod val="50000"/>
                </a:schemeClr>
              </a:solidFill>
              <a:latin typeface="Open Sauce One" pitchFamily="2" charset="0"/>
            </a:endParaRPr>
          </a:p>
          <a:p>
            <a:pPr marL="171450" lvl="1" indent="114300">
              <a:buFont typeface="Arial" panose="020B0604020202020204" pitchFamily="34" charset="0"/>
              <a:buChar char="•"/>
            </a:pPr>
            <a:endParaRPr lang="en-US" sz="900" b="0" i="0">
              <a:solidFill>
                <a:schemeClr val="bg1">
                  <a:lumMod val="50000"/>
                </a:schemeClr>
              </a:solidFill>
              <a:effectLst/>
              <a:latin typeface="Open Sauce One" panose="020B0604020202020204"/>
            </a:endParaRPr>
          </a:p>
          <a:p>
            <a:pPr marL="171450" lvl="1" indent="114300">
              <a:buFont typeface="Arial" panose="020B0604020202020204" pitchFamily="34" charset="0"/>
              <a:buChar char="•"/>
            </a:pPr>
            <a:endParaRPr lang="en-US" sz="900" b="0" i="0">
              <a:solidFill>
                <a:schemeClr val="bg1">
                  <a:lumMod val="50000"/>
                </a:schemeClr>
              </a:solidFill>
              <a:effectLst/>
              <a:latin typeface="Open Sauce One" panose="020B0604020202020204"/>
            </a:endParaRPr>
          </a:p>
          <a:p>
            <a:pPr marL="171450" lvl="1" indent="114300">
              <a:buFont typeface="Arial" panose="020B0604020202020204" pitchFamily="34" charset="0"/>
              <a:buChar char="•"/>
            </a:pPr>
            <a:endParaRPr lang="en-US" sz="900">
              <a:solidFill>
                <a:schemeClr val="bg1">
                  <a:lumMod val="50000"/>
                </a:schemeClr>
              </a:solidFill>
              <a:latin typeface="Open Sauce One" panose="020B0604020202020204"/>
            </a:endParaRPr>
          </a:p>
          <a:p>
            <a:pPr marL="136525" indent="-136525">
              <a:buFont typeface="Arial" panose="020B0604020202020204" pitchFamily="34" charset="0"/>
              <a:buChar char="•"/>
            </a:pPr>
            <a:endParaRPr lang="en-GB" sz="900">
              <a:solidFill>
                <a:schemeClr val="bg1">
                  <a:lumMod val="50000"/>
                </a:schemeClr>
              </a:solidFill>
              <a:latin typeface="Open Sauce One" panose="020B0604020202020204"/>
            </a:endParaRPr>
          </a:p>
        </p:txBody>
      </p:sp>
      <p:cxnSp>
        <p:nvCxnSpPr>
          <p:cNvPr id="89" name="Egyenes összekötő 14">
            <a:extLst>
              <a:ext uri="{FF2B5EF4-FFF2-40B4-BE49-F238E27FC236}">
                <a16:creationId xmlns:a16="http://schemas.microsoft.com/office/drawing/2014/main" id="{C4B793E5-9499-4655-94C0-EAEE3614E21A}"/>
              </a:ext>
            </a:extLst>
          </p:cNvPr>
          <p:cNvCxnSpPr>
            <a:cxnSpLocks/>
          </p:cNvCxnSpPr>
          <p:nvPr/>
        </p:nvCxnSpPr>
        <p:spPr>
          <a:xfrm flipH="1">
            <a:off x="7603271" y="4595935"/>
            <a:ext cx="3647467"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Lekerekített téglalap 6">
            <a:extLst>
              <a:ext uri="{FF2B5EF4-FFF2-40B4-BE49-F238E27FC236}">
                <a16:creationId xmlns:a16="http://schemas.microsoft.com/office/drawing/2014/main" id="{18D88B44-B46B-86F2-8068-83C04A7797C8}"/>
              </a:ext>
            </a:extLst>
          </p:cNvPr>
          <p:cNvSpPr/>
          <p:nvPr/>
        </p:nvSpPr>
        <p:spPr>
          <a:xfrm>
            <a:off x="3314927" y="1945283"/>
            <a:ext cx="1624308" cy="372346"/>
          </a:xfrm>
          <a:prstGeom prst="roundRect">
            <a:avLst>
              <a:gd name="adj" fmla="val 50000"/>
            </a:avLst>
          </a:prstGeom>
          <a:solidFill>
            <a:srgbClr val="AEE7D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030436"/>
                </a:solidFill>
                <a:latin typeface="Open Sauce One"/>
              </a:rPr>
              <a:t>Results</a:t>
            </a:r>
          </a:p>
        </p:txBody>
      </p:sp>
      <p:sp>
        <p:nvSpPr>
          <p:cNvPr id="114" name="Rectangle: Rounded Corners 113">
            <a:extLst>
              <a:ext uri="{FF2B5EF4-FFF2-40B4-BE49-F238E27FC236}">
                <a16:creationId xmlns:a16="http://schemas.microsoft.com/office/drawing/2014/main" id="{62774A16-409C-4CC8-A691-88024FA750FD}"/>
              </a:ext>
            </a:extLst>
          </p:cNvPr>
          <p:cNvSpPr/>
          <p:nvPr/>
        </p:nvSpPr>
        <p:spPr>
          <a:xfrm>
            <a:off x="6323556" y="4701799"/>
            <a:ext cx="373389"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269</a:t>
            </a:r>
          </a:p>
        </p:txBody>
      </p:sp>
    </p:spTree>
    <p:extLst>
      <p:ext uri="{BB962C8B-B14F-4D97-AF65-F5344CB8AC3E}">
        <p14:creationId xmlns:p14="http://schemas.microsoft.com/office/powerpoint/2010/main" val="22684197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E8A96F4-6AE0-42A5-A3F3-A38A5A292D90}"/>
              </a:ext>
            </a:extLst>
          </p:cNvPr>
          <p:cNvGraphicFramePr>
            <a:graphicFrameLocks noChangeAspect="1"/>
          </p:cNvGraphicFramePr>
          <p:nvPr>
            <p:custDataLst>
              <p:tags r:id="rId1"/>
            </p:custDataLst>
            <p:extLst>
              <p:ext uri="{D42A27DB-BD31-4B8C-83A1-F6EECF244321}">
                <p14:modId xmlns:p14="http://schemas.microsoft.com/office/powerpoint/2010/main" val="4256532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8" name="think-cell data - do not delete" hidden="1">
                        <a:extLst>
                          <a:ext uri="{FF2B5EF4-FFF2-40B4-BE49-F238E27FC236}">
                            <a16:creationId xmlns:a16="http://schemas.microsoft.com/office/drawing/2014/main" id="{DE8A96F4-6AE0-42A5-A3F3-A38A5A292D90}"/>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7" name="Lekerekített téglalap 4">
            <a:extLst>
              <a:ext uri="{FF2B5EF4-FFF2-40B4-BE49-F238E27FC236}">
                <a16:creationId xmlns:a16="http://schemas.microsoft.com/office/drawing/2014/main" id="{28BC0EE5-A0BF-4C58-9161-FF722A7747DA}"/>
              </a:ext>
            </a:extLst>
          </p:cNvPr>
          <p:cNvSpPr>
            <a:spLocks noGrp="1" noRot="1" noMove="1" noResize="1" noEditPoints="1" noAdjustHandles="1" noChangeArrowheads="1" noChangeShapeType="1"/>
          </p:cNvSpPr>
          <p:nvPr/>
        </p:nvSpPr>
        <p:spPr>
          <a:xfrm>
            <a:off x="3029192" y="2137370"/>
            <a:ext cx="8719895" cy="4171355"/>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Open Sauce One" pitchFamily="2" charset="0"/>
              <a:ea typeface="+mn-ea"/>
              <a:cs typeface="+mn-cs"/>
            </a:endParaRPr>
          </a:p>
        </p:txBody>
      </p:sp>
      <p:sp>
        <p:nvSpPr>
          <p:cNvPr id="2" name="Cím 1">
            <a:extLst>
              <a:ext uri="{FF2B5EF4-FFF2-40B4-BE49-F238E27FC236}">
                <a16:creationId xmlns:a16="http://schemas.microsoft.com/office/drawing/2014/main" id="{E5488EFF-CBEA-80E6-3982-C78BD5B50047}"/>
              </a:ext>
            </a:extLst>
          </p:cNvPr>
          <p:cNvSpPr>
            <a:spLocks noGrp="1"/>
          </p:cNvSpPr>
          <p:nvPr>
            <p:ph type="title"/>
          </p:nvPr>
        </p:nvSpPr>
        <p:spPr>
          <a:xfrm>
            <a:off x="407988" y="963466"/>
            <a:ext cx="11341100" cy="830997"/>
          </a:xfrm>
        </p:spPr>
        <p:txBody>
          <a:bodyPr vert="horz"/>
          <a:lstStyle/>
          <a:p>
            <a:r>
              <a:rPr lang="en-US" sz="2400"/>
              <a:t>Achieving 90% - 95% PO header data capture accuracy for incoming invoices without manual verification (Pilot Scope)</a:t>
            </a:r>
          </a:p>
        </p:txBody>
      </p:sp>
      <p:sp>
        <p:nvSpPr>
          <p:cNvPr id="4" name="Dia számának helye 3">
            <a:extLst>
              <a:ext uri="{FF2B5EF4-FFF2-40B4-BE49-F238E27FC236}">
                <a16:creationId xmlns:a16="http://schemas.microsoft.com/office/drawing/2014/main" id="{A0139F03-1DAC-25D3-850E-887054A401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2D668-955E-AB45-9B4E-D4D3490B1261}" type="slidenum">
              <a:rPr kumimoji="0" lang="en-US" sz="1000" b="0" i="0" u="none" strike="noStrike" kern="1200" cap="none" spc="0" normalizeH="0" baseline="0" noProof="0" dirty="0" smtClean="0">
                <a:ln>
                  <a:noFill/>
                </a:ln>
                <a:solidFill>
                  <a:srgbClr val="FFFFFF">
                    <a:lumMod val="50000"/>
                  </a:srgbClr>
                </a:solidFill>
                <a:effectLst/>
                <a:uLnTx/>
                <a:uFillTx/>
                <a:latin typeface="Open Sauce On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FFFFFF">
                  <a:lumMod val="50000"/>
                </a:srgbClr>
              </a:solidFill>
              <a:effectLst/>
              <a:uLnTx/>
              <a:uFillTx/>
              <a:latin typeface="Open Sauce One" pitchFamily="2" charset="0"/>
              <a:ea typeface="+mn-ea"/>
              <a:cs typeface="+mn-cs"/>
            </a:endParaRPr>
          </a:p>
        </p:txBody>
      </p:sp>
      <p:sp>
        <p:nvSpPr>
          <p:cNvPr id="5" name="Tartalom helye 4">
            <a:extLst>
              <a:ext uri="{FF2B5EF4-FFF2-40B4-BE49-F238E27FC236}">
                <a16:creationId xmlns:a16="http://schemas.microsoft.com/office/drawing/2014/main" id="{3DAF7342-BA0B-8740-DCF6-A65EA384405C}"/>
              </a:ext>
            </a:extLst>
          </p:cNvPr>
          <p:cNvSpPr>
            <a:spLocks noGrp="1"/>
          </p:cNvSpPr>
          <p:nvPr>
            <p:ph idx="13"/>
          </p:nvPr>
        </p:nvSpPr>
        <p:spPr/>
        <p:txBody>
          <a:bodyPr/>
          <a:lstStyle/>
          <a:p>
            <a:r>
              <a:rPr lang="en-US"/>
              <a:t>PO Model Results Presentation </a:t>
            </a:r>
          </a:p>
          <a:p>
            <a:endParaRPr lang="en-US"/>
          </a:p>
        </p:txBody>
      </p:sp>
      <p:sp>
        <p:nvSpPr>
          <p:cNvPr id="22" name="Lekerekített téglalap 4">
            <a:extLst>
              <a:ext uri="{FF2B5EF4-FFF2-40B4-BE49-F238E27FC236}">
                <a16:creationId xmlns:a16="http://schemas.microsoft.com/office/drawing/2014/main" id="{7B142CC6-E85D-45F8-BA2B-CB9806188691}"/>
              </a:ext>
            </a:extLst>
          </p:cNvPr>
          <p:cNvSpPr/>
          <p:nvPr/>
        </p:nvSpPr>
        <p:spPr>
          <a:xfrm>
            <a:off x="407989" y="2127723"/>
            <a:ext cx="2449511" cy="4171355"/>
          </a:xfrm>
          <a:prstGeom prst="roundRect">
            <a:avLst>
              <a:gd name="adj" fmla="val 7297"/>
            </a:avLst>
          </a:prstGeom>
          <a:solidFill>
            <a:schemeClr val="bg2"/>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20000"/>
              </a:lnSpc>
            </a:pPr>
            <a:endParaRPr lang="en-US" sz="1400">
              <a:solidFill>
                <a:schemeClr val="tx1"/>
              </a:solidFill>
              <a:latin typeface="Open Sauce One" pitchFamily="2" charset="0"/>
            </a:endParaRPr>
          </a:p>
          <a:p>
            <a:pPr algn="ctr">
              <a:lnSpc>
                <a:spcPct val="120000"/>
              </a:lnSpc>
            </a:pPr>
            <a:r>
              <a:rPr kumimoji="0" lang="en-US" sz="1400" b="1" i="0" u="none" strike="noStrike" kern="1200" cap="none" spc="0" normalizeH="0" baseline="0" noProof="0">
                <a:ln>
                  <a:noFill/>
                </a:ln>
                <a:solidFill>
                  <a:schemeClr val="tx2"/>
                </a:solidFill>
                <a:effectLst/>
                <a:uLnTx/>
                <a:uFillTx/>
                <a:latin typeface="Open Sauce One" pitchFamily="2" charset="0"/>
                <a:ea typeface="+mn-ea"/>
                <a:cs typeface="+mn-cs"/>
              </a:rPr>
              <a:t>Key metric</a:t>
            </a:r>
          </a:p>
          <a:p>
            <a:pPr algn="ctr">
              <a:lnSpc>
                <a:spcPct val="120000"/>
              </a:lnSpc>
            </a:pPr>
            <a:endParaRPr lang="en-US" sz="1400">
              <a:solidFill>
                <a:schemeClr val="tx1"/>
              </a:solidFill>
              <a:latin typeface="Open Sauce One" pitchFamily="2" charset="0"/>
            </a:endParaRPr>
          </a:p>
          <a:p>
            <a:pPr algn="ctr">
              <a:lnSpc>
                <a:spcPct val="120000"/>
              </a:lnSpc>
            </a:pPr>
            <a:r>
              <a:rPr lang="en-US" sz="1400">
                <a:solidFill>
                  <a:schemeClr val="tx1"/>
                </a:solidFill>
                <a:latin typeface="Open Sauce One" pitchFamily="2" charset="0"/>
              </a:rPr>
              <a:t>The capture rate of header data points of incoming invoices without manual verification can be increased to at least 90% - 95% on field level for documents within the training and testing scope.</a:t>
            </a:r>
          </a:p>
        </p:txBody>
      </p:sp>
      <p:graphicFrame>
        <p:nvGraphicFramePr>
          <p:cNvPr id="18" name="Chart 17">
            <a:extLst>
              <a:ext uri="{FF2B5EF4-FFF2-40B4-BE49-F238E27FC236}">
                <a16:creationId xmlns:a16="http://schemas.microsoft.com/office/drawing/2014/main" id="{7050F132-39BC-095D-AAD2-BEBA6B323CC2}"/>
              </a:ext>
            </a:extLst>
          </p:cNvPr>
          <p:cNvGraphicFramePr/>
          <p:nvPr>
            <p:custDataLst>
              <p:tags r:id="rId2"/>
            </p:custDataLst>
            <p:extLst>
              <p:ext uri="{D42A27DB-BD31-4B8C-83A1-F6EECF244321}">
                <p14:modId xmlns:p14="http://schemas.microsoft.com/office/powerpoint/2010/main" val="1853196663"/>
              </p:ext>
            </p:extLst>
          </p:nvPr>
        </p:nvGraphicFramePr>
        <p:xfrm>
          <a:off x="4127500" y="3087688"/>
          <a:ext cx="1874838" cy="2832100"/>
        </p:xfrm>
        <a:graphic>
          <a:graphicData uri="http://schemas.openxmlformats.org/drawingml/2006/chart">
            <c:chart xmlns:c="http://schemas.openxmlformats.org/drawingml/2006/chart" xmlns:r="http://schemas.openxmlformats.org/officeDocument/2006/relationships" r:id="rId26"/>
          </a:graphicData>
        </a:graphic>
      </p:graphicFrame>
      <p:sp>
        <p:nvSpPr>
          <p:cNvPr id="9" name="Arrow: Right 8">
            <a:extLst>
              <a:ext uri="{FF2B5EF4-FFF2-40B4-BE49-F238E27FC236}">
                <a16:creationId xmlns:a16="http://schemas.microsoft.com/office/drawing/2014/main" id="{4C3E460E-6492-0578-6C65-E647DFCB42FF}"/>
              </a:ext>
            </a:extLst>
          </p:cNvPr>
          <p:cNvSpPr/>
          <p:nvPr>
            <p:custDataLst>
              <p:tags r:id="rId3"/>
            </p:custDataLst>
          </p:nvPr>
        </p:nvSpPr>
        <p:spPr bwMode="auto">
          <a:xfrm rot="16200000">
            <a:off x="5738813" y="5875338"/>
            <a:ext cx="128587" cy="152400"/>
          </a:xfrm>
          <a:prstGeom prst="rightArrow">
            <a:avLst>
              <a:gd name="adj1" fmla="val 100000"/>
              <a:gd name="adj2" fmla="val 100000"/>
            </a:avLst>
          </a:prstGeom>
          <a:solidFill>
            <a:schemeClr val="tx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a:extLst>
              <a:ext uri="{FF2B5EF4-FFF2-40B4-BE49-F238E27FC236}">
                <a16:creationId xmlns:a16="http://schemas.microsoft.com/office/drawing/2014/main" id="{77858DC5-03D6-21A0-2A2D-E4D16FCB76B3}"/>
              </a:ext>
            </a:extLst>
          </p:cNvPr>
          <p:cNvCxnSpPr/>
          <p:nvPr>
            <p:custDataLst>
              <p:tags r:id="rId4"/>
            </p:custDataLst>
          </p:nvPr>
        </p:nvCxnSpPr>
        <p:spPr bwMode="auto">
          <a:xfrm>
            <a:off x="5802313" y="3170238"/>
            <a:ext cx="0" cy="266700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Szöveg helye 2">
            <a:extLst>
              <a:ext uri="{FF2B5EF4-FFF2-40B4-BE49-F238E27FC236}">
                <a16:creationId xmlns:a16="http://schemas.microsoft.com/office/drawing/2014/main" id="{6BC610D1-575F-ECF6-2183-D2E011BBF205}"/>
              </a:ext>
            </a:extLst>
          </p:cNvPr>
          <p:cNvSpPr>
            <a:spLocks noGrp="1"/>
          </p:cNvSpPr>
          <p:nvPr>
            <p:custDataLst>
              <p:tags r:id="rId5"/>
            </p:custDataLst>
          </p:nvPr>
        </p:nvSpPr>
        <p:spPr bwMode="auto">
          <a:xfrm>
            <a:off x="3419474" y="3211513"/>
            <a:ext cx="704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BCF8DE6-3D47-495D-9F58-412469ABA9E4}" type="datetime'''''''''''''''''''''''''''I''n''''voi''''''''c''e Da''''t''e'">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Invoice Date</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3" name="Szöveg helye 2">
            <a:extLst>
              <a:ext uri="{FF2B5EF4-FFF2-40B4-BE49-F238E27FC236}">
                <a16:creationId xmlns:a16="http://schemas.microsoft.com/office/drawing/2014/main" id="{6BC610D1-575F-ECF6-2183-D2E011BBF205}"/>
              </a:ext>
            </a:extLst>
          </p:cNvPr>
          <p:cNvSpPr>
            <a:spLocks noGrp="1"/>
          </p:cNvSpPr>
          <p:nvPr>
            <p:custDataLst>
              <p:tags r:id="rId6"/>
            </p:custDataLst>
          </p:nvPr>
        </p:nvSpPr>
        <p:spPr bwMode="auto">
          <a:xfrm>
            <a:off x="3235325" y="3508375"/>
            <a:ext cx="889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9E8D20-5922-4ABE-9FFE-DD2E3DC9ED3E}" type="datetime'''''''I''''n''''''''''v''''oic''''''e'''''''''' N''um''be''r'">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Invoice Number</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7" name="Szöveg helye 2">
            <a:extLst>
              <a:ext uri="{FF2B5EF4-FFF2-40B4-BE49-F238E27FC236}">
                <a16:creationId xmlns:a16="http://schemas.microsoft.com/office/drawing/2014/main" id="{D13A4D1F-B877-B6BF-7A46-67942DE86DCC}"/>
              </a:ext>
            </a:extLst>
          </p:cNvPr>
          <p:cNvSpPr>
            <a:spLocks noGrp="1"/>
          </p:cNvSpPr>
          <p:nvPr>
            <p:custDataLst>
              <p:tags r:id="rId7"/>
            </p:custDataLst>
          </p:nvPr>
        </p:nvSpPr>
        <p:spPr bwMode="auto">
          <a:xfrm>
            <a:off x="3457575" y="3803650"/>
            <a:ext cx="666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85011C8-173F-4105-81AE-26B472CF5131}" type="datetime'PO'''' ''N''''''''um''''b''''''''''''''''''''e''''''r'''''''">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PO Number</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 name="Szöveg helye 2">
            <a:extLst>
              <a:ext uri="{FF2B5EF4-FFF2-40B4-BE49-F238E27FC236}">
                <a16:creationId xmlns:a16="http://schemas.microsoft.com/office/drawing/2014/main" id="{6BC610D1-575F-ECF6-2183-D2E011BBF205}"/>
              </a:ext>
            </a:extLst>
          </p:cNvPr>
          <p:cNvSpPr>
            <a:spLocks noGrp="1"/>
          </p:cNvSpPr>
          <p:nvPr>
            <p:custDataLst>
              <p:tags r:id="rId8"/>
            </p:custDataLst>
          </p:nvPr>
        </p:nvSpPr>
        <p:spPr bwMode="auto">
          <a:xfrm>
            <a:off x="3375025" y="4989513"/>
            <a:ext cx="7493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6AD8E2E-F1D9-4E3C-97B1-C80A837A811D}" type="datetime'Mi''s''c'''''''''''''''''''' Ch''''''''ar''''''''g''''es'''">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Misc Charges</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0" name="Szöveg helye 2">
            <a:extLst>
              <a:ext uri="{FF2B5EF4-FFF2-40B4-BE49-F238E27FC236}">
                <a16:creationId xmlns:a16="http://schemas.microsoft.com/office/drawing/2014/main" id="{6BC610D1-575F-ECF6-2183-D2E011BBF205}"/>
              </a:ext>
            </a:extLst>
          </p:cNvPr>
          <p:cNvSpPr>
            <a:spLocks noGrp="1"/>
          </p:cNvSpPr>
          <p:nvPr>
            <p:custDataLst>
              <p:tags r:id="rId9"/>
            </p:custDataLst>
          </p:nvPr>
        </p:nvSpPr>
        <p:spPr bwMode="auto">
          <a:xfrm>
            <a:off x="3321050" y="4397375"/>
            <a:ext cx="803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4BCDA16-69F0-429F-9CAA-3091BB3CC228}" type="datetime'Gr''o''''''''s''''''''s'''''''''' Am''''o''''''''''un''''t'''">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Gross Amount</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 name="Szöveg helye 2">
            <a:extLst>
              <a:ext uri="{FF2B5EF4-FFF2-40B4-BE49-F238E27FC236}">
                <a16:creationId xmlns:a16="http://schemas.microsoft.com/office/drawing/2014/main" id="{6BC610D1-575F-ECF6-2183-D2E011BBF205}"/>
              </a:ext>
            </a:extLst>
          </p:cNvPr>
          <p:cNvSpPr>
            <a:spLocks noGrp="1"/>
          </p:cNvSpPr>
          <p:nvPr>
            <p:custDataLst>
              <p:tags r:id="rId10"/>
            </p:custDataLst>
          </p:nvPr>
        </p:nvSpPr>
        <p:spPr bwMode="auto">
          <a:xfrm>
            <a:off x="3240088" y="4100513"/>
            <a:ext cx="884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4B6F3E-C2F2-43A9-86FD-E8543C05590F}" type="datetime'Fr''eight C''har''''''''g''''''''es'''''''''''''''">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Freight Charges</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Szöveg helye 2">
            <a:extLst>
              <a:ext uri="{FF2B5EF4-FFF2-40B4-BE49-F238E27FC236}">
                <a16:creationId xmlns:a16="http://schemas.microsoft.com/office/drawing/2014/main" id="{6BC610D1-575F-ECF6-2183-D2E011BBF205}"/>
              </a:ext>
            </a:extLst>
          </p:cNvPr>
          <p:cNvSpPr>
            <a:spLocks noGrp="1"/>
          </p:cNvSpPr>
          <p:nvPr>
            <p:custDataLst>
              <p:tags r:id="rId11"/>
            </p:custDataLst>
          </p:nvPr>
        </p:nvSpPr>
        <p:spPr bwMode="auto">
          <a:xfrm>
            <a:off x="3440113" y="5286375"/>
            <a:ext cx="6842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CC2633-1CF9-49C7-92CF-4766D18B9290}" type="datetime'T''a''''x ''''A''''''''m''''''''''o''''''u''n''''t'''''''">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Tax Amount</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6" name="Szöveg helye 2">
            <a:extLst>
              <a:ext uri="{FF2B5EF4-FFF2-40B4-BE49-F238E27FC236}">
                <a16:creationId xmlns:a16="http://schemas.microsoft.com/office/drawing/2014/main" id="{1E493FEB-88A5-29C2-E10F-CC64545FF4E2}"/>
              </a:ext>
            </a:extLst>
          </p:cNvPr>
          <p:cNvSpPr>
            <a:spLocks noGrp="1"/>
          </p:cNvSpPr>
          <p:nvPr>
            <p:custDataLst>
              <p:tags r:id="rId12"/>
            </p:custDataLst>
          </p:nvPr>
        </p:nvSpPr>
        <p:spPr bwMode="auto">
          <a:xfrm>
            <a:off x="3343275" y="4692650"/>
            <a:ext cx="781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182D461-C7CA-4E0A-BDA0-6E934D561E41}" type="datetime'''''L''i''''''''ne ''S''''ub''-''''t''o''t''''''a''''''l'''''">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Line Sub-total</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Szöveg helye 2">
            <a:extLst>
              <a:ext uri="{FF2B5EF4-FFF2-40B4-BE49-F238E27FC236}">
                <a16:creationId xmlns:a16="http://schemas.microsoft.com/office/drawing/2014/main" id="{6BC610D1-575F-ECF6-2183-D2E011BBF205}"/>
              </a:ext>
            </a:extLst>
          </p:cNvPr>
          <p:cNvSpPr>
            <a:spLocks noGrp="1"/>
          </p:cNvSpPr>
          <p:nvPr>
            <p:custDataLst>
              <p:tags r:id="rId13"/>
            </p:custDataLst>
          </p:nvPr>
        </p:nvSpPr>
        <p:spPr bwMode="auto">
          <a:xfrm>
            <a:off x="3548064" y="5581650"/>
            <a:ext cx="576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FE27B8-CB63-453F-B19D-6D5AD2AD372A}" type="datetime'''''V''''e''''''''n''d''''o''r'''''''''' ''''ID'''''''''''''">
              <a:rPr lang="en-GB" altLang="en-US" sz="1000" dirty="0" smtClean="0">
                <a:latin typeface="Lato" panose="020F0502020204030203" pitchFamily="34" charset="0"/>
                <a:ea typeface="Lato" panose="020F0502020204030203" pitchFamily="34" charset="0"/>
                <a:cs typeface="Lato" panose="020F0502020204030203" pitchFamily="34" charset="0"/>
              </a:rPr>
              <a:pPr marL="0" lvl="0" indent="0" algn="r">
                <a:spcBef>
                  <a:spcPct val="0"/>
                </a:spcBef>
                <a:spcAft>
                  <a:spcPct val="0"/>
                </a:spcAft>
                <a:buNone/>
              </a:pPr>
              <a:t>Vendor ID</a:t>
            </a:fld>
            <a:endPar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Szöveg helye 2">
            <a:extLst>
              <a:ext uri="{FF2B5EF4-FFF2-40B4-BE49-F238E27FC236}">
                <a16:creationId xmlns:a16="http://schemas.microsoft.com/office/drawing/2014/main" id="{6BC610D1-575F-ECF6-2183-D2E011BBF205}"/>
              </a:ext>
            </a:extLst>
          </p:cNvPr>
          <p:cNvSpPr>
            <a:spLocks noGrp="1"/>
          </p:cNvSpPr>
          <p:nvPr>
            <p:custDataLst>
              <p:tags r:id="rId14"/>
            </p:custDataLst>
          </p:nvPr>
        </p:nvSpPr>
        <p:spPr bwMode="auto">
          <a:xfrm>
            <a:off x="5681663" y="6067425"/>
            <a:ext cx="24130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1pPr>
            <a:lvl2pPr marL="6858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40000"/>
              </a:lnSpc>
              <a:spcBef>
                <a:spcPts val="500"/>
              </a:spcBef>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a:effectLst/>
                <a:ea typeface="Lato" panose="020F0502020204030203" pitchFamily="34" charset="0"/>
                <a:cs typeface="Lato" panose="020F0502020204030203" pitchFamily="34" charset="0"/>
                <a:sym typeface="Lato" panose="020F0502020204030203" pitchFamily="34" charset="0"/>
              </a:rPr>
              <a:t>Ø </a:t>
            </a:r>
            <a:fld id="{62A8E628-DB77-4D89-8ACC-19E4735BDC48}" type="datetime'''''''''''''''''''''''''''''''''''92'''''''''''''''''''''''''">
              <a:rPr lang="en-GB" altLang="en-US" sz="800" dirty="0" smtClean="0">
                <a:effectLst/>
                <a:ea typeface="Lato" panose="020F0502020204030203" pitchFamily="34" charset="0"/>
                <a:cs typeface="Lato" panose="020F0502020204030203" pitchFamily="34" charset="0"/>
                <a:sym typeface="Lato" panose="020F0502020204030203" pitchFamily="34" charset="0"/>
              </a:rPr>
              <a:pPr marL="0" indent="0" algn="ctr">
                <a:spcBef>
                  <a:spcPct val="0"/>
                </a:spcBef>
                <a:spcAft>
                  <a:spcPct val="0"/>
                </a:spcAft>
                <a:buNone/>
              </a:pPr>
              <a:t>92</a:t>
            </a:fld>
            <a:endParaRPr lang="en-GB" sz="800">
              <a:ea typeface="Lato" panose="020F0502020204030203" pitchFamily="34" charset="0"/>
              <a:cs typeface="Lato" panose="020F0502020204030203" pitchFamily="34" charset="0"/>
              <a:sym typeface="Lato" panose="020F0502020204030203" pitchFamily="34" charset="0"/>
            </a:endParaRPr>
          </a:p>
        </p:txBody>
      </p:sp>
      <p:graphicFrame>
        <p:nvGraphicFramePr>
          <p:cNvPr id="28" name="Chart 27">
            <a:extLst>
              <a:ext uri="{FF2B5EF4-FFF2-40B4-BE49-F238E27FC236}">
                <a16:creationId xmlns:a16="http://schemas.microsoft.com/office/drawing/2014/main" id="{2405CF8C-F970-914F-D861-97A946766868}"/>
              </a:ext>
            </a:extLst>
          </p:cNvPr>
          <p:cNvGraphicFramePr/>
          <p:nvPr>
            <p:custDataLst>
              <p:tags r:id="rId15"/>
            </p:custDataLst>
            <p:extLst>
              <p:ext uri="{D42A27DB-BD31-4B8C-83A1-F6EECF244321}">
                <p14:modId xmlns:p14="http://schemas.microsoft.com/office/powerpoint/2010/main" val="1787416443"/>
              </p:ext>
            </p:extLst>
          </p:nvPr>
        </p:nvGraphicFramePr>
        <p:xfrm>
          <a:off x="7519988" y="3195638"/>
          <a:ext cx="3813175" cy="1147762"/>
        </p:xfrm>
        <a:graphic>
          <a:graphicData uri="http://schemas.openxmlformats.org/drawingml/2006/chart">
            <c:chart xmlns:c="http://schemas.openxmlformats.org/drawingml/2006/chart" xmlns:r="http://schemas.openxmlformats.org/officeDocument/2006/relationships" r:id="rId27"/>
          </a:graphicData>
        </a:graphic>
      </p:graphicFrame>
      <p:cxnSp>
        <p:nvCxnSpPr>
          <p:cNvPr id="144" name="Straight Connector 143">
            <a:extLst>
              <a:ext uri="{FF2B5EF4-FFF2-40B4-BE49-F238E27FC236}">
                <a16:creationId xmlns:a16="http://schemas.microsoft.com/office/drawing/2014/main" id="{AAC10577-7B24-7F6C-A333-DBACD3318F0A}"/>
              </a:ext>
            </a:extLst>
          </p:cNvPr>
          <p:cNvCxnSpPr/>
          <p:nvPr>
            <p:custDataLst>
              <p:tags r:id="rId16"/>
            </p:custDataLst>
          </p:nvPr>
        </p:nvCxnSpPr>
        <p:spPr bwMode="auto">
          <a:xfrm>
            <a:off x="10439400" y="3392488"/>
            <a:ext cx="406400" cy="0"/>
          </a:xfrm>
          <a:prstGeom prst="line">
            <a:avLst/>
          </a:prstGeom>
          <a:ln w="63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66445BBC-6D93-B7A7-7BBF-AD2D92F26000}"/>
              </a:ext>
            </a:extLst>
          </p:cNvPr>
          <p:cNvCxnSpPr/>
          <p:nvPr>
            <p:custDataLst>
              <p:tags r:id="rId17"/>
            </p:custDataLst>
          </p:nvPr>
        </p:nvCxnSpPr>
        <p:spPr bwMode="auto">
          <a:xfrm>
            <a:off x="10845800" y="3392488"/>
            <a:ext cx="0" cy="863600"/>
          </a:xfrm>
          <a:prstGeom prst="line">
            <a:avLst/>
          </a:prstGeom>
          <a:ln w="63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142A5F4D-5D6C-38A1-A063-0362DF40753E}"/>
              </a:ext>
            </a:extLst>
          </p:cNvPr>
          <p:cNvCxnSpPr/>
          <p:nvPr>
            <p:custDataLst>
              <p:tags r:id="rId18"/>
            </p:custDataLst>
          </p:nvPr>
        </p:nvCxnSpPr>
        <p:spPr bwMode="auto">
          <a:xfrm>
            <a:off x="10439400" y="3392488"/>
            <a:ext cx="0" cy="863600"/>
          </a:xfrm>
          <a:prstGeom prst="line">
            <a:avLst/>
          </a:prstGeom>
          <a:ln w="63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6" name="Textplatzhalter 2">
            <a:extLst>
              <a:ext uri="{FF2B5EF4-FFF2-40B4-BE49-F238E27FC236}">
                <a16:creationId xmlns:a16="http://schemas.microsoft.com/office/drawing/2014/main" id="{53646026-D5BD-427B-BB82-1D999EE2B074}"/>
              </a:ext>
            </a:extLst>
          </p:cNvPr>
          <p:cNvSpPr>
            <a:spLocks noGrp="1"/>
          </p:cNvSpPr>
          <p:nvPr>
            <p:custDataLst>
              <p:tags r:id="rId19"/>
            </p:custDataLst>
          </p:nvPr>
        </p:nvSpPr>
        <p:spPr bwMode="auto">
          <a:xfrm>
            <a:off x="7854950" y="4303713"/>
            <a:ext cx="711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rPr>
              <a:t>POV Model</a:t>
            </a:r>
          </a:p>
        </p:txBody>
      </p:sp>
      <p:sp>
        <p:nvSpPr>
          <p:cNvPr id="177" name="Textplatzhalter 2">
            <a:extLst>
              <a:ext uri="{FF2B5EF4-FFF2-40B4-BE49-F238E27FC236}">
                <a16:creationId xmlns:a16="http://schemas.microsoft.com/office/drawing/2014/main" id="{94868B19-2A17-409E-A2B4-298EBEA5A0D0}"/>
              </a:ext>
            </a:extLst>
          </p:cNvPr>
          <p:cNvSpPr>
            <a:spLocks noGrp="1"/>
          </p:cNvSpPr>
          <p:nvPr>
            <p:custDataLst>
              <p:tags r:id="rId20"/>
            </p:custDataLst>
          </p:nvPr>
        </p:nvSpPr>
        <p:spPr bwMode="auto">
          <a:xfrm>
            <a:off x="8963025" y="4303713"/>
            <a:ext cx="928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rPr>
              <a:t>Pilot PO Model</a:t>
            </a:r>
          </a:p>
        </p:txBody>
      </p:sp>
      <p:sp>
        <p:nvSpPr>
          <p:cNvPr id="117" name="Textplatzhalter 2">
            <a:extLst>
              <a:ext uri="{FF2B5EF4-FFF2-40B4-BE49-F238E27FC236}">
                <a16:creationId xmlns:a16="http://schemas.microsoft.com/office/drawing/2014/main" id="{374E25A2-B464-985B-C647-30C6D5A8CEA6}"/>
              </a:ext>
            </a:extLst>
          </p:cNvPr>
          <p:cNvSpPr>
            <a:spLocks noGrp="1"/>
          </p:cNvSpPr>
          <p:nvPr>
            <p:custDataLst>
              <p:tags r:id="rId21"/>
            </p:custDataLst>
          </p:nvPr>
        </p:nvSpPr>
        <p:spPr bwMode="auto">
          <a:xfrm>
            <a:off x="10052050" y="4303714"/>
            <a:ext cx="1181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E2711C9-80F4-4468-B680-70C54C046EE0}" type="datetime'C''o''n''''ti''''nua''''''''''l'' ''''L''earni''ng'' '''''">
              <a:rPr lang="en-US" altLang="en-US" sz="1000" dirty="0" smtClean="0">
                <a:solidFill>
                  <a:srgbClr val="000000"/>
                </a:solidFill>
                <a:latin typeface="Open Sauce One" panose="020B0604020202020204"/>
              </a:rPr>
              <a:pPr marL="0" lvl="0" indent="0" algn="ctr">
                <a:spcBef>
                  <a:spcPct val="0"/>
                </a:spcBef>
                <a:spcAft>
                  <a:spcPct val="0"/>
                </a:spcAft>
                <a:buNone/>
                <a:defRPr/>
              </a:pPr>
              <a:t>Continual Learning </a:t>
            </a:fld>
            <a:endParaRPr kumimoji="0" lang="en-US" sz="1000" b="0" i="0" strike="noStrike" kern="1200" cap="none" spc="0" normalizeH="0" baseline="0" noProof="0">
              <a:ln>
                <a:noFill/>
              </a:ln>
              <a:solidFill>
                <a:srgbClr val="000000"/>
              </a:solidFill>
              <a:effectLst/>
              <a:uLnTx/>
              <a:uFillTx/>
              <a:latin typeface="Open Sauce One" panose="020B0604020202020204"/>
              <a:sym typeface="Open Sauce One" panose="020B0604020202020204"/>
            </a:endParaRPr>
          </a:p>
        </p:txBody>
      </p:sp>
      <p:sp>
        <p:nvSpPr>
          <p:cNvPr id="50" name="Lekerekített téglalap 20">
            <a:extLst>
              <a:ext uri="{FF2B5EF4-FFF2-40B4-BE49-F238E27FC236}">
                <a16:creationId xmlns:a16="http://schemas.microsoft.com/office/drawing/2014/main" id="{24F2D7C4-C532-4870-ABEB-1FF91693D4AF}"/>
              </a:ext>
            </a:extLst>
          </p:cNvPr>
          <p:cNvSpPr/>
          <p:nvPr/>
        </p:nvSpPr>
        <p:spPr>
          <a:xfrm>
            <a:off x="10175925" y="428335"/>
            <a:ext cx="1573161" cy="346234"/>
          </a:xfrm>
          <a:prstGeom prst="roundRect">
            <a:avLst>
              <a:gd name="adj" fmla="val 50000"/>
            </a:avLst>
          </a:prstGeom>
          <a:no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en-US" sz="1000">
                <a:solidFill>
                  <a:schemeClr val="tx2"/>
                </a:solidFill>
                <a:latin typeface="Open Sauce One" pitchFamily="2" charset="0"/>
              </a:rPr>
              <a:t>Capturing Quality </a:t>
            </a:r>
            <a:endParaRPr lang="en-GB" sz="1000">
              <a:solidFill>
                <a:schemeClr val="tx2"/>
              </a:solidFill>
              <a:latin typeface="Open Sauce One" pitchFamily="2" charset="0"/>
            </a:endParaRPr>
          </a:p>
        </p:txBody>
      </p:sp>
      <p:sp>
        <p:nvSpPr>
          <p:cNvPr id="52" name="Lekerekített téglalap 5">
            <a:extLst>
              <a:ext uri="{FF2B5EF4-FFF2-40B4-BE49-F238E27FC236}">
                <a16:creationId xmlns:a16="http://schemas.microsoft.com/office/drawing/2014/main" id="{4B2D0DFB-03E2-4696-9D10-D774772F7067}"/>
              </a:ext>
            </a:extLst>
          </p:cNvPr>
          <p:cNvSpPr/>
          <p:nvPr/>
        </p:nvSpPr>
        <p:spPr>
          <a:xfrm>
            <a:off x="604911" y="1943918"/>
            <a:ext cx="1617784" cy="372346"/>
          </a:xfrm>
          <a:prstGeom prst="roundRect">
            <a:avLst>
              <a:gd name="adj" fmla="val 50000"/>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Open Sauce One" pitchFamily="2" charset="0"/>
              </a:rPr>
              <a:t>Hypothesis 1</a:t>
            </a:r>
          </a:p>
        </p:txBody>
      </p:sp>
      <p:sp>
        <p:nvSpPr>
          <p:cNvPr id="53" name="TextBox 52">
            <a:extLst>
              <a:ext uri="{FF2B5EF4-FFF2-40B4-BE49-F238E27FC236}">
                <a16:creationId xmlns:a16="http://schemas.microsoft.com/office/drawing/2014/main" id="{5D7EC723-B586-4470-A55A-1EAC7DE3F919}"/>
              </a:ext>
            </a:extLst>
          </p:cNvPr>
          <p:cNvSpPr txBox="1"/>
          <p:nvPr/>
        </p:nvSpPr>
        <p:spPr>
          <a:xfrm>
            <a:off x="3312313" y="2502663"/>
            <a:ext cx="3802825" cy="461665"/>
          </a:xfrm>
          <a:prstGeom prst="rect">
            <a:avLst/>
          </a:prstGeom>
          <a:noFill/>
        </p:spPr>
        <p:txBody>
          <a:bodyPr wrap="square">
            <a:spAutoFit/>
          </a:bodyPr>
          <a:lstStyle/>
          <a:p>
            <a:r>
              <a:rPr lang="en-US" sz="1200" b="1">
                <a:latin typeface="Open Sauce One" pitchFamily="2" charset="0"/>
              </a:rPr>
              <a:t>Posting Data Match Results</a:t>
            </a:r>
          </a:p>
          <a:p>
            <a:r>
              <a:rPr lang="en-US" sz="1200">
                <a:latin typeface="Open Sauce One" pitchFamily="2" charset="0"/>
              </a:rPr>
              <a:t>% accurate automation results</a:t>
            </a:r>
          </a:p>
        </p:txBody>
      </p:sp>
      <p:sp>
        <p:nvSpPr>
          <p:cNvPr id="54" name="TextBox 53">
            <a:extLst>
              <a:ext uri="{FF2B5EF4-FFF2-40B4-BE49-F238E27FC236}">
                <a16:creationId xmlns:a16="http://schemas.microsoft.com/office/drawing/2014/main" id="{8FD47743-7B72-4035-9075-CB7367824CE4}"/>
              </a:ext>
            </a:extLst>
          </p:cNvPr>
          <p:cNvSpPr txBox="1"/>
          <p:nvPr/>
        </p:nvSpPr>
        <p:spPr>
          <a:xfrm>
            <a:off x="7571231" y="2502663"/>
            <a:ext cx="3493844" cy="461665"/>
          </a:xfrm>
          <a:prstGeom prst="rect">
            <a:avLst/>
          </a:prstGeom>
          <a:noFill/>
        </p:spPr>
        <p:txBody>
          <a:bodyPr wrap="square">
            <a:spAutoFit/>
          </a:bodyPr>
          <a:lstStyle/>
          <a:p>
            <a:r>
              <a:rPr lang="en-US" sz="1200" b="1">
                <a:latin typeface="Open Sauce One" pitchFamily="2" charset="0"/>
              </a:rPr>
              <a:t>Observed and expected pass-through rates on document level </a:t>
            </a:r>
            <a:r>
              <a:rPr lang="en-US" sz="1200">
                <a:latin typeface="Open Sauce One" pitchFamily="2" charset="0"/>
              </a:rPr>
              <a:t>(in %)</a:t>
            </a:r>
          </a:p>
        </p:txBody>
      </p:sp>
      <p:cxnSp>
        <p:nvCxnSpPr>
          <p:cNvPr id="55" name="Straight Connector 54">
            <a:extLst>
              <a:ext uri="{FF2B5EF4-FFF2-40B4-BE49-F238E27FC236}">
                <a16:creationId xmlns:a16="http://schemas.microsoft.com/office/drawing/2014/main" id="{E3ED99CD-D6EE-4DD1-AF3C-5B6C9DD185D8}"/>
              </a:ext>
            </a:extLst>
          </p:cNvPr>
          <p:cNvCxnSpPr>
            <a:cxnSpLocks/>
          </p:cNvCxnSpPr>
          <p:nvPr/>
        </p:nvCxnSpPr>
        <p:spPr>
          <a:xfrm>
            <a:off x="7130319" y="2502663"/>
            <a:ext cx="0" cy="339187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6" name="Isosceles Triangle 55">
            <a:extLst>
              <a:ext uri="{FF2B5EF4-FFF2-40B4-BE49-F238E27FC236}">
                <a16:creationId xmlns:a16="http://schemas.microsoft.com/office/drawing/2014/main" id="{D113C61A-4B94-4388-B58C-47E4DD003B60}"/>
              </a:ext>
            </a:extLst>
          </p:cNvPr>
          <p:cNvSpPr/>
          <p:nvPr/>
        </p:nvSpPr>
        <p:spPr>
          <a:xfrm rot="5400000">
            <a:off x="7116541" y="4054685"/>
            <a:ext cx="210702" cy="183146"/>
          </a:xfrm>
          <a:prstGeom prst="triangl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a:ln>
                <a:noFill/>
              </a:ln>
              <a:solidFill>
                <a:srgbClr val="FFFFFF"/>
              </a:solidFill>
              <a:effectLst/>
              <a:uLnTx/>
              <a:uFillTx/>
              <a:latin typeface="Open Sauce One" pitchFamily="2" charset="0"/>
              <a:ea typeface="+mn-ea"/>
              <a:cs typeface="+mn-cs"/>
            </a:endParaRPr>
          </a:p>
        </p:txBody>
      </p:sp>
      <p:sp>
        <p:nvSpPr>
          <p:cNvPr id="78" name="Rectangle: Rounded Corners 77">
            <a:extLst>
              <a:ext uri="{FF2B5EF4-FFF2-40B4-BE49-F238E27FC236}">
                <a16:creationId xmlns:a16="http://schemas.microsoft.com/office/drawing/2014/main" id="{A8859266-1F16-4BCB-85E6-AF14E7CD79FC}"/>
              </a:ext>
            </a:extLst>
          </p:cNvPr>
          <p:cNvSpPr/>
          <p:nvPr/>
        </p:nvSpPr>
        <p:spPr>
          <a:xfrm>
            <a:off x="6316007" y="3232637"/>
            <a:ext cx="373399"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5019</a:t>
            </a:r>
          </a:p>
        </p:txBody>
      </p:sp>
      <p:sp>
        <p:nvSpPr>
          <p:cNvPr id="79" name="Rectangle: Rounded Corners 78">
            <a:extLst>
              <a:ext uri="{FF2B5EF4-FFF2-40B4-BE49-F238E27FC236}">
                <a16:creationId xmlns:a16="http://schemas.microsoft.com/office/drawing/2014/main" id="{40C9C3A9-D62B-432C-9B3F-4C44D5327BA3}"/>
              </a:ext>
            </a:extLst>
          </p:cNvPr>
          <p:cNvSpPr/>
          <p:nvPr/>
        </p:nvSpPr>
        <p:spPr>
          <a:xfrm>
            <a:off x="6316007" y="3516778"/>
            <a:ext cx="407911"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5037</a:t>
            </a:r>
          </a:p>
        </p:txBody>
      </p:sp>
      <p:sp>
        <p:nvSpPr>
          <p:cNvPr id="80" name="Rectangle: Rounded Corners 79">
            <a:extLst>
              <a:ext uri="{FF2B5EF4-FFF2-40B4-BE49-F238E27FC236}">
                <a16:creationId xmlns:a16="http://schemas.microsoft.com/office/drawing/2014/main" id="{39D1522A-3A07-40A5-B77A-DAED9181CF7E}"/>
              </a:ext>
            </a:extLst>
          </p:cNvPr>
          <p:cNvSpPr/>
          <p:nvPr/>
        </p:nvSpPr>
        <p:spPr>
          <a:xfrm>
            <a:off x="6316008" y="3814396"/>
            <a:ext cx="373398"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802</a:t>
            </a:r>
          </a:p>
        </p:txBody>
      </p:sp>
      <p:sp>
        <p:nvSpPr>
          <p:cNvPr id="81" name="Rectangle: Rounded Corners 80">
            <a:extLst>
              <a:ext uri="{FF2B5EF4-FFF2-40B4-BE49-F238E27FC236}">
                <a16:creationId xmlns:a16="http://schemas.microsoft.com/office/drawing/2014/main" id="{4F4FD238-5C38-4227-B0D0-B6A83AEE6F9A}"/>
              </a:ext>
            </a:extLst>
          </p:cNvPr>
          <p:cNvSpPr/>
          <p:nvPr/>
        </p:nvSpPr>
        <p:spPr>
          <a:xfrm>
            <a:off x="6316007" y="4100123"/>
            <a:ext cx="373393"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1188</a:t>
            </a:r>
          </a:p>
        </p:txBody>
      </p:sp>
      <p:sp>
        <p:nvSpPr>
          <p:cNvPr id="82" name="Rectangle: Rounded Corners 81">
            <a:extLst>
              <a:ext uri="{FF2B5EF4-FFF2-40B4-BE49-F238E27FC236}">
                <a16:creationId xmlns:a16="http://schemas.microsoft.com/office/drawing/2014/main" id="{C2E8AD4C-CE43-4AA6-9BA0-B815BE50781D}"/>
              </a:ext>
            </a:extLst>
          </p:cNvPr>
          <p:cNvSpPr/>
          <p:nvPr/>
        </p:nvSpPr>
        <p:spPr>
          <a:xfrm>
            <a:off x="6316007" y="4427536"/>
            <a:ext cx="373391"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4928</a:t>
            </a:r>
          </a:p>
        </p:txBody>
      </p:sp>
      <p:sp>
        <p:nvSpPr>
          <p:cNvPr id="83" name="Rectangle: Rounded Corners 82">
            <a:extLst>
              <a:ext uri="{FF2B5EF4-FFF2-40B4-BE49-F238E27FC236}">
                <a16:creationId xmlns:a16="http://schemas.microsoft.com/office/drawing/2014/main" id="{52EF70AE-1DE8-44FB-83B6-C97B9E5E4ADF}"/>
              </a:ext>
            </a:extLst>
          </p:cNvPr>
          <p:cNvSpPr/>
          <p:nvPr/>
        </p:nvSpPr>
        <p:spPr>
          <a:xfrm>
            <a:off x="6323556" y="5003821"/>
            <a:ext cx="365840"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123</a:t>
            </a:r>
          </a:p>
        </p:txBody>
      </p:sp>
      <p:sp>
        <p:nvSpPr>
          <p:cNvPr id="84" name="Rectangle: Rounded Corners 83">
            <a:extLst>
              <a:ext uri="{FF2B5EF4-FFF2-40B4-BE49-F238E27FC236}">
                <a16:creationId xmlns:a16="http://schemas.microsoft.com/office/drawing/2014/main" id="{7C33D44A-944A-4956-B85A-38DAF1DD0350}"/>
              </a:ext>
            </a:extLst>
          </p:cNvPr>
          <p:cNvSpPr/>
          <p:nvPr/>
        </p:nvSpPr>
        <p:spPr>
          <a:xfrm>
            <a:off x="6316007" y="5300683"/>
            <a:ext cx="373385"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3858</a:t>
            </a:r>
          </a:p>
        </p:txBody>
      </p:sp>
      <p:sp>
        <p:nvSpPr>
          <p:cNvPr id="85" name="Rectangle: Rounded Corners 84">
            <a:extLst>
              <a:ext uri="{FF2B5EF4-FFF2-40B4-BE49-F238E27FC236}">
                <a16:creationId xmlns:a16="http://schemas.microsoft.com/office/drawing/2014/main" id="{4A24A518-53DB-4D15-9F93-937B9056162A}"/>
              </a:ext>
            </a:extLst>
          </p:cNvPr>
          <p:cNvSpPr/>
          <p:nvPr/>
        </p:nvSpPr>
        <p:spPr>
          <a:xfrm>
            <a:off x="6316007" y="5586410"/>
            <a:ext cx="373383"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5074</a:t>
            </a:r>
          </a:p>
        </p:txBody>
      </p:sp>
      <p:sp>
        <p:nvSpPr>
          <p:cNvPr id="87" name="TextBox 86">
            <a:extLst>
              <a:ext uri="{FF2B5EF4-FFF2-40B4-BE49-F238E27FC236}">
                <a16:creationId xmlns:a16="http://schemas.microsoft.com/office/drawing/2014/main" id="{09E59149-9944-4557-BB84-61D11D972AA8}"/>
              </a:ext>
            </a:extLst>
          </p:cNvPr>
          <p:cNvSpPr txBox="1"/>
          <p:nvPr/>
        </p:nvSpPr>
        <p:spPr>
          <a:xfrm>
            <a:off x="5475950" y="2916035"/>
            <a:ext cx="1874825" cy="215444"/>
          </a:xfrm>
          <a:prstGeom prst="rect">
            <a:avLst/>
          </a:prstGeom>
          <a:noFill/>
        </p:spPr>
        <p:txBody>
          <a:bodyPr wrap="square">
            <a:spAutoFit/>
          </a:bodyPr>
          <a:lstStyle/>
          <a:p>
            <a:pPr algn="ctr"/>
            <a:r>
              <a:rPr lang="en-US" sz="800">
                <a:solidFill>
                  <a:schemeClr val="bg1">
                    <a:lumMod val="50000"/>
                  </a:schemeClr>
                </a:solidFill>
                <a:latin typeface="Open Sauce One" pitchFamily="2" charset="0"/>
              </a:rPr>
              <a:t>Testing Documents</a:t>
            </a:r>
          </a:p>
        </p:txBody>
      </p:sp>
      <p:sp>
        <p:nvSpPr>
          <p:cNvPr id="88" name="Rectangle 241">
            <a:extLst>
              <a:ext uri="{FF2B5EF4-FFF2-40B4-BE49-F238E27FC236}">
                <a16:creationId xmlns:a16="http://schemas.microsoft.com/office/drawing/2014/main" id="{83D1E047-8DAB-426C-8F16-9B346834FE16}"/>
              </a:ext>
            </a:extLst>
          </p:cNvPr>
          <p:cNvSpPr/>
          <p:nvPr/>
        </p:nvSpPr>
        <p:spPr>
          <a:xfrm>
            <a:off x="7499768" y="4675446"/>
            <a:ext cx="3873080" cy="1680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a:solidFill>
                  <a:schemeClr val="accent4"/>
                </a:solidFill>
                <a:latin typeface="Open Sauce One" panose="020B0604020202020204"/>
              </a:rPr>
              <a:t>Comments</a:t>
            </a:r>
          </a:p>
          <a:p>
            <a:endParaRPr lang="en-GB" sz="1000" b="1">
              <a:solidFill>
                <a:schemeClr val="accent4"/>
              </a:solidFill>
              <a:latin typeface="Open Sauce One" panose="020B0604020202020204"/>
            </a:endParaRPr>
          </a:p>
          <a:p>
            <a:pPr marL="171450" indent="-171450">
              <a:buFont typeface="Arial" panose="020B0604020202020204" pitchFamily="34" charset="0"/>
              <a:buChar char="•"/>
            </a:pPr>
            <a:r>
              <a:rPr lang="en-GB" sz="1000">
                <a:solidFill>
                  <a:schemeClr val="bg1">
                    <a:lumMod val="50000"/>
                  </a:schemeClr>
                </a:solidFill>
                <a:latin typeface="Open Sauce One" panose="020B0604020202020204"/>
              </a:rPr>
              <a:t>Model currently in QA</a:t>
            </a:r>
          </a:p>
          <a:p>
            <a:pPr marL="171450" indent="-171450">
              <a:buFont typeface="Arial" panose="020B0604020202020204" pitchFamily="34" charset="0"/>
              <a:buChar char="•"/>
            </a:pPr>
            <a:r>
              <a:rPr lang="en-GB" sz="1000">
                <a:solidFill>
                  <a:schemeClr val="bg1">
                    <a:lumMod val="50000"/>
                  </a:schemeClr>
                </a:solidFill>
                <a:latin typeface="Open Sauce One" panose="020B0604020202020204"/>
              </a:rPr>
              <a:t>Troubleshooting line sub-total</a:t>
            </a:r>
            <a:endParaRPr lang="en-US" sz="900">
              <a:solidFill>
                <a:schemeClr val="bg1">
                  <a:lumMod val="50000"/>
                </a:schemeClr>
              </a:solidFill>
              <a:latin typeface="Open Sauce One" panose="020B0604020202020204"/>
            </a:endParaRPr>
          </a:p>
          <a:p>
            <a:pPr marL="136525" indent="-136525">
              <a:buFont typeface="Arial" panose="020B0604020202020204" pitchFamily="34" charset="0"/>
              <a:buChar char="•"/>
            </a:pPr>
            <a:endParaRPr lang="en-GB" sz="900">
              <a:solidFill>
                <a:schemeClr val="bg1">
                  <a:lumMod val="50000"/>
                </a:schemeClr>
              </a:solidFill>
              <a:latin typeface="Open Sauce One" panose="020B0604020202020204"/>
            </a:endParaRPr>
          </a:p>
        </p:txBody>
      </p:sp>
      <p:cxnSp>
        <p:nvCxnSpPr>
          <p:cNvPr id="89" name="Egyenes összekötő 14">
            <a:extLst>
              <a:ext uri="{FF2B5EF4-FFF2-40B4-BE49-F238E27FC236}">
                <a16:creationId xmlns:a16="http://schemas.microsoft.com/office/drawing/2014/main" id="{C4B793E5-9499-4655-94C0-EAEE3614E21A}"/>
              </a:ext>
            </a:extLst>
          </p:cNvPr>
          <p:cNvCxnSpPr>
            <a:cxnSpLocks/>
          </p:cNvCxnSpPr>
          <p:nvPr/>
        </p:nvCxnSpPr>
        <p:spPr>
          <a:xfrm flipH="1">
            <a:off x="7603271" y="4595935"/>
            <a:ext cx="3647467"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Lekerekített téglalap 6">
            <a:extLst>
              <a:ext uri="{FF2B5EF4-FFF2-40B4-BE49-F238E27FC236}">
                <a16:creationId xmlns:a16="http://schemas.microsoft.com/office/drawing/2014/main" id="{18D88B44-B46B-86F2-8068-83C04A7797C8}"/>
              </a:ext>
            </a:extLst>
          </p:cNvPr>
          <p:cNvSpPr/>
          <p:nvPr/>
        </p:nvSpPr>
        <p:spPr>
          <a:xfrm>
            <a:off x="3314927" y="1945283"/>
            <a:ext cx="1624308" cy="372346"/>
          </a:xfrm>
          <a:prstGeom prst="roundRect">
            <a:avLst>
              <a:gd name="adj" fmla="val 50000"/>
            </a:avLst>
          </a:prstGeom>
          <a:solidFill>
            <a:srgbClr val="AEE7D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030436"/>
                </a:solidFill>
                <a:latin typeface="Open Sauce One"/>
              </a:rPr>
              <a:t>Results</a:t>
            </a:r>
          </a:p>
        </p:txBody>
      </p:sp>
      <p:sp>
        <p:nvSpPr>
          <p:cNvPr id="114" name="Rectangle: Rounded Corners 113">
            <a:extLst>
              <a:ext uri="{FF2B5EF4-FFF2-40B4-BE49-F238E27FC236}">
                <a16:creationId xmlns:a16="http://schemas.microsoft.com/office/drawing/2014/main" id="{62774A16-409C-4CC8-A691-88024FA750FD}"/>
              </a:ext>
            </a:extLst>
          </p:cNvPr>
          <p:cNvSpPr/>
          <p:nvPr/>
        </p:nvSpPr>
        <p:spPr>
          <a:xfrm>
            <a:off x="6323556" y="4701799"/>
            <a:ext cx="373389" cy="1841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Open Sauce One" panose="020B0604020202020204"/>
              </a:rPr>
              <a:t>5086</a:t>
            </a:r>
          </a:p>
        </p:txBody>
      </p:sp>
    </p:spTree>
    <p:extLst>
      <p:ext uri="{BB962C8B-B14F-4D97-AF65-F5344CB8AC3E}">
        <p14:creationId xmlns:p14="http://schemas.microsoft.com/office/powerpoint/2010/main" val="2298417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B8624DB-0447-8884-01D2-B0A59B0AD0DF}"/>
              </a:ext>
            </a:extLst>
          </p:cNvPr>
          <p:cNvGraphicFramePr>
            <a:graphicFrameLocks noChangeAspect="1"/>
          </p:cNvGraphicFramePr>
          <p:nvPr>
            <p:custDataLst>
              <p:tags r:id="rId1"/>
            </p:custDataLst>
            <p:extLst>
              <p:ext uri="{D42A27DB-BD31-4B8C-83A1-F6EECF244321}">
                <p14:modId xmlns:p14="http://schemas.microsoft.com/office/powerpoint/2010/main" val="3479810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1B8624DB-0447-8884-01D2-B0A59B0AD0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6780C453-5EF7-B83C-D9FB-9E1E3EDCD0FC}"/>
              </a:ext>
            </a:extLst>
          </p:cNvPr>
          <p:cNvSpPr>
            <a:spLocks noGrp="1"/>
          </p:cNvSpPr>
          <p:nvPr>
            <p:ph type="title"/>
          </p:nvPr>
        </p:nvSpPr>
        <p:spPr>
          <a:xfrm>
            <a:off x="416214" y="2413337"/>
            <a:ext cx="10515600" cy="1015663"/>
          </a:xfrm>
        </p:spPr>
        <p:txBody>
          <a:bodyPr/>
          <a:lstStyle/>
          <a:p>
            <a:endParaRPr lang="en-US"/>
          </a:p>
        </p:txBody>
      </p:sp>
      <p:sp>
        <p:nvSpPr>
          <p:cNvPr id="3" name="Szöveg helye 2">
            <a:extLst>
              <a:ext uri="{FF2B5EF4-FFF2-40B4-BE49-F238E27FC236}">
                <a16:creationId xmlns:a16="http://schemas.microsoft.com/office/drawing/2014/main" id="{376F3A5A-6880-D471-4EA8-18CF0EB8305F}"/>
              </a:ext>
            </a:extLst>
          </p:cNvPr>
          <p:cNvSpPr>
            <a:spLocks noGrp="1"/>
          </p:cNvSpPr>
          <p:nvPr>
            <p:ph type="body" idx="1"/>
          </p:nvPr>
        </p:nvSpPr>
        <p:spPr/>
        <p:txBody>
          <a:bodyPr/>
          <a:lstStyle/>
          <a:p>
            <a:endParaRPr lang="en-US"/>
          </a:p>
        </p:txBody>
      </p:sp>
      <p:sp>
        <p:nvSpPr>
          <p:cNvPr id="4" name="Dia számának helye 3">
            <a:extLst>
              <a:ext uri="{FF2B5EF4-FFF2-40B4-BE49-F238E27FC236}">
                <a16:creationId xmlns:a16="http://schemas.microsoft.com/office/drawing/2014/main" id="{0A18636B-84A1-7807-222F-F2D9831C0FB0}"/>
              </a:ext>
            </a:extLst>
          </p:cNvPr>
          <p:cNvSpPr>
            <a:spLocks noGrp="1"/>
          </p:cNvSpPr>
          <p:nvPr>
            <p:ph type="sldNum" sz="quarter" idx="12"/>
          </p:nvPr>
        </p:nvSpPr>
        <p:spPr/>
        <p:txBody>
          <a:bodyPr/>
          <a:lstStyle/>
          <a:p>
            <a:fld id="{61F2D668-955E-AB45-9B4E-D4D3490B1261}" type="slidenum">
              <a:rPr lang="en-US" smtClean="0"/>
              <a:t>17</a:t>
            </a:fld>
            <a:endParaRPr lang="en-US"/>
          </a:p>
        </p:txBody>
      </p:sp>
    </p:spTree>
    <p:extLst>
      <p:ext uri="{BB962C8B-B14F-4D97-AF65-F5344CB8AC3E}">
        <p14:creationId xmlns:p14="http://schemas.microsoft.com/office/powerpoint/2010/main" val="3802497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105BA8A-792F-CF02-74FB-2A07EA23ADC5}"/>
              </a:ext>
            </a:extLst>
          </p:cNvPr>
          <p:cNvGraphicFramePr>
            <a:graphicFrameLocks noChangeAspect="1"/>
          </p:cNvGraphicFramePr>
          <p:nvPr>
            <p:custDataLst>
              <p:tags r:id="rId1"/>
            </p:custDataLst>
            <p:extLst>
              <p:ext uri="{D42A27DB-BD31-4B8C-83A1-F6EECF244321}">
                <p14:modId xmlns:p14="http://schemas.microsoft.com/office/powerpoint/2010/main" val="3791314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F105BA8A-792F-CF02-74FB-2A07EA23AD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CEAAA5-EA3C-0CA1-ECB4-C793632D54A6}"/>
              </a:ext>
            </a:extLst>
          </p:cNvPr>
          <p:cNvSpPr>
            <a:spLocks noGrp="1"/>
          </p:cNvSpPr>
          <p:nvPr>
            <p:ph type="title"/>
          </p:nvPr>
        </p:nvSpPr>
        <p:spPr/>
        <p:txBody>
          <a:bodyPr/>
          <a:lstStyle/>
          <a:p>
            <a:endParaRPr lang="en-US"/>
          </a:p>
        </p:txBody>
      </p:sp>
      <p:sp>
        <p:nvSpPr>
          <p:cNvPr id="3" name="Dia számának helye 2">
            <a:extLst>
              <a:ext uri="{FF2B5EF4-FFF2-40B4-BE49-F238E27FC236}">
                <a16:creationId xmlns:a16="http://schemas.microsoft.com/office/drawing/2014/main" id="{7308D3FC-9CD0-A991-91CE-05A895B56E1C}"/>
              </a:ext>
            </a:extLst>
          </p:cNvPr>
          <p:cNvSpPr>
            <a:spLocks noGrp="1"/>
          </p:cNvSpPr>
          <p:nvPr>
            <p:ph type="sldNum" sz="quarter" idx="12"/>
          </p:nvPr>
        </p:nvSpPr>
        <p:spPr/>
        <p:txBody>
          <a:bodyPr/>
          <a:lstStyle/>
          <a:p>
            <a:fld id="{61F2D668-955E-AB45-9B4E-D4D3490B1261}" type="slidenum">
              <a:rPr lang="en-US" smtClean="0"/>
              <a:t>18</a:t>
            </a:fld>
            <a:endParaRPr lang="en-US"/>
          </a:p>
        </p:txBody>
      </p:sp>
    </p:spTree>
    <p:extLst>
      <p:ext uri="{BB962C8B-B14F-4D97-AF65-F5344CB8AC3E}">
        <p14:creationId xmlns:p14="http://schemas.microsoft.com/office/powerpoint/2010/main" val="3688973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527F94-B070-2983-D677-045BA4309A07}"/>
              </a:ext>
            </a:extLst>
          </p:cNvPr>
          <p:cNvGraphicFramePr>
            <a:graphicFrameLocks noChangeAspect="1"/>
          </p:cNvGraphicFramePr>
          <p:nvPr>
            <p:custDataLst>
              <p:tags r:id="rId1"/>
            </p:custDataLst>
            <p:extLst>
              <p:ext uri="{D42A27DB-BD31-4B8C-83A1-F6EECF244321}">
                <p14:modId xmlns:p14="http://schemas.microsoft.com/office/powerpoint/2010/main" val="3192840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4E527F94-B070-2983-D677-045BA4309A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A723F19C-A4A4-8ED9-E2B0-40B3048B0EA8}"/>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E950543E-1EFD-87BD-7111-3E8ED375E1FF}"/>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2788687C-1FAE-86E6-A058-36F429A3B969}"/>
              </a:ext>
            </a:extLst>
          </p:cNvPr>
          <p:cNvSpPr>
            <a:spLocks noGrp="1"/>
          </p:cNvSpPr>
          <p:nvPr>
            <p:ph type="sldNum" sz="quarter" idx="12"/>
          </p:nvPr>
        </p:nvSpPr>
        <p:spPr/>
        <p:txBody>
          <a:bodyPr/>
          <a:lstStyle/>
          <a:p>
            <a:fld id="{61F2D668-955E-AB45-9B4E-D4D3490B1261}" type="slidenum">
              <a:rPr lang="en-US" smtClean="0"/>
              <a:t>19</a:t>
            </a:fld>
            <a:endParaRPr lang="en-US"/>
          </a:p>
        </p:txBody>
      </p:sp>
      <p:sp>
        <p:nvSpPr>
          <p:cNvPr id="5" name="Tartalom helye 4">
            <a:extLst>
              <a:ext uri="{FF2B5EF4-FFF2-40B4-BE49-F238E27FC236}">
                <a16:creationId xmlns:a16="http://schemas.microsoft.com/office/drawing/2014/main" id="{CBCBB689-47B7-5569-CA17-C39072C9D70F}"/>
              </a:ext>
            </a:extLst>
          </p:cNvPr>
          <p:cNvSpPr>
            <a:spLocks noGrp="1"/>
          </p:cNvSpPr>
          <p:nvPr>
            <p:ph idx="13"/>
          </p:nvPr>
        </p:nvSpPr>
        <p:spPr/>
        <p:txBody>
          <a:bodyPr/>
          <a:lstStyle/>
          <a:p>
            <a:endParaRPr lang="en-US"/>
          </a:p>
        </p:txBody>
      </p:sp>
    </p:spTree>
    <p:extLst>
      <p:ext uri="{BB962C8B-B14F-4D97-AF65-F5344CB8AC3E}">
        <p14:creationId xmlns:p14="http://schemas.microsoft.com/office/powerpoint/2010/main" val="7185361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1C4AAC-DF7E-B6F8-6FFC-2E25058AFCDE}"/>
              </a:ext>
            </a:extLst>
          </p:cNvPr>
          <p:cNvGraphicFramePr>
            <a:graphicFrameLocks noChangeAspect="1"/>
          </p:cNvGraphicFramePr>
          <p:nvPr>
            <p:custDataLst>
              <p:tags r:id="rId1"/>
            </p:custDataLst>
            <p:extLst>
              <p:ext uri="{D42A27DB-BD31-4B8C-83A1-F6EECF244321}">
                <p14:modId xmlns:p14="http://schemas.microsoft.com/office/powerpoint/2010/main" val="181820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C1C4AAC-DF7E-B6F8-6FFC-2E25058AFC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98FD1992-DD91-82E4-B0D8-5890E91D49A0}"/>
              </a:ext>
            </a:extLst>
          </p:cNvPr>
          <p:cNvSpPr>
            <a:spLocks noGrp="1"/>
          </p:cNvSpPr>
          <p:nvPr>
            <p:ph type="title"/>
          </p:nvPr>
        </p:nvSpPr>
        <p:spPr>
          <a:xfrm>
            <a:off x="407988" y="404813"/>
            <a:ext cx="11341100" cy="584775"/>
          </a:xfrm>
        </p:spPr>
        <p:txBody>
          <a:bodyPr vert="horz"/>
          <a:lstStyle/>
          <a:p>
            <a:r>
              <a:rPr lang="en-US"/>
              <a:t>Agenda</a:t>
            </a:r>
          </a:p>
        </p:txBody>
      </p:sp>
      <p:sp>
        <p:nvSpPr>
          <p:cNvPr id="4" name="Dia számának helye 3">
            <a:extLst>
              <a:ext uri="{FF2B5EF4-FFF2-40B4-BE49-F238E27FC236}">
                <a16:creationId xmlns:a16="http://schemas.microsoft.com/office/drawing/2014/main" id="{AFE8720D-AC6F-E516-5D61-AD1509AEE81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2D668-955E-AB45-9B4E-D4D3490B1261}" type="slidenum">
              <a:rPr kumimoji="0" lang="en-US" sz="1000" b="0" i="0" u="none" strike="noStrike" kern="1200" cap="none" spc="0" normalizeH="0" baseline="0" noProof="0" smtClean="0">
                <a:ln>
                  <a:noFill/>
                </a:ln>
                <a:solidFill>
                  <a:srgbClr val="FFFFFF">
                    <a:lumMod val="50000"/>
                  </a:srgbClr>
                </a:solidFill>
                <a:effectLst/>
                <a:uLnTx/>
                <a:uFillTx/>
                <a:latin typeface="Open Sauce On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FFFFFF">
                  <a:lumMod val="50000"/>
                </a:srgbClr>
              </a:solidFill>
              <a:effectLst/>
              <a:uLnTx/>
              <a:uFillTx/>
              <a:latin typeface="Open Sauce One" pitchFamily="2" charset="0"/>
              <a:ea typeface="+mn-ea"/>
              <a:cs typeface="+mn-cs"/>
            </a:endParaRPr>
          </a:p>
        </p:txBody>
      </p:sp>
      <p:sp>
        <p:nvSpPr>
          <p:cNvPr id="11" name="Lekerekített téglalap 10">
            <a:extLst>
              <a:ext uri="{FF2B5EF4-FFF2-40B4-BE49-F238E27FC236}">
                <a16:creationId xmlns:a16="http://schemas.microsoft.com/office/drawing/2014/main" id="{76C920B7-BE94-0D30-8832-EF946C388FF8}"/>
              </a:ext>
            </a:extLst>
          </p:cNvPr>
          <p:cNvSpPr/>
          <p:nvPr/>
        </p:nvSpPr>
        <p:spPr>
          <a:xfrm>
            <a:off x="407986" y="1810583"/>
            <a:ext cx="9862683" cy="417080"/>
          </a:xfrm>
          <a:prstGeom prst="roundRect">
            <a:avLst>
              <a:gd name="adj" fmla="val 8975"/>
            </a:avLst>
          </a:prstGeom>
          <a:noFill/>
          <a:ln>
            <a:solidFill>
              <a:schemeClr val="accent5">
                <a:lumMod val="60000"/>
                <a:lumOff val="40000"/>
              </a:schemeClr>
            </a:solid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400">
                <a:solidFill>
                  <a:srgbClr val="7197FF"/>
                </a:solidFill>
                <a:latin typeface="Open Sauce One" pitchFamily="2" charset="0"/>
              </a:rPr>
              <a:t>Project Status &amp; Timeline Review</a:t>
            </a:r>
          </a:p>
        </p:txBody>
      </p:sp>
      <p:sp>
        <p:nvSpPr>
          <p:cNvPr id="12" name="Lekerekített téglalap 11">
            <a:extLst>
              <a:ext uri="{FF2B5EF4-FFF2-40B4-BE49-F238E27FC236}">
                <a16:creationId xmlns:a16="http://schemas.microsoft.com/office/drawing/2014/main" id="{31A1A74D-3785-5589-AB3A-DD6034C72EF3}"/>
              </a:ext>
            </a:extLst>
          </p:cNvPr>
          <p:cNvSpPr/>
          <p:nvPr/>
        </p:nvSpPr>
        <p:spPr>
          <a:xfrm>
            <a:off x="407988" y="1274164"/>
            <a:ext cx="9862683" cy="417080"/>
          </a:xfrm>
          <a:prstGeom prst="roundRect">
            <a:avLst>
              <a:gd name="adj" fmla="val 116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rgbClr val="030436"/>
                </a:solidFill>
                <a:latin typeface="Open Sauce One" pitchFamily="2" charset="0"/>
              </a:rPr>
              <a:t>RAID (Risks, Actions, Issues &amp; Decisions) Follow-up</a:t>
            </a:r>
          </a:p>
        </p:txBody>
      </p:sp>
      <p:sp>
        <p:nvSpPr>
          <p:cNvPr id="17" name="Lekerekített téglalap 16">
            <a:extLst>
              <a:ext uri="{FF2B5EF4-FFF2-40B4-BE49-F238E27FC236}">
                <a16:creationId xmlns:a16="http://schemas.microsoft.com/office/drawing/2014/main" id="{EC20F76B-4421-69CF-B455-88358336714B}"/>
              </a:ext>
            </a:extLst>
          </p:cNvPr>
          <p:cNvSpPr/>
          <p:nvPr/>
        </p:nvSpPr>
        <p:spPr>
          <a:xfrm>
            <a:off x="407986" y="2352039"/>
            <a:ext cx="9862683" cy="417080"/>
          </a:xfrm>
          <a:prstGeom prst="roundRect">
            <a:avLst>
              <a:gd name="adj" fmla="val 8975"/>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197FF"/>
                </a:solidFill>
                <a:effectLst/>
                <a:uLnTx/>
                <a:uFillTx/>
                <a:latin typeface="Open Sauce One" pitchFamily="2" charset="0"/>
                <a:ea typeface="+mn-ea"/>
                <a:cs typeface="+mn-cs"/>
              </a:rPr>
              <a:t>Highlight Topics</a:t>
            </a:r>
          </a:p>
        </p:txBody>
      </p:sp>
    </p:spTree>
    <p:extLst>
      <p:ext uri="{BB962C8B-B14F-4D97-AF65-F5344CB8AC3E}">
        <p14:creationId xmlns:p14="http://schemas.microsoft.com/office/powerpoint/2010/main" val="41607969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9183F9B-B0CF-E37C-8F0E-E13E6E7D6FE7}"/>
              </a:ext>
            </a:extLst>
          </p:cNvPr>
          <p:cNvGraphicFramePr>
            <a:graphicFrameLocks noChangeAspect="1"/>
          </p:cNvGraphicFramePr>
          <p:nvPr>
            <p:custDataLst>
              <p:tags r:id="rId1"/>
            </p:custDataLst>
            <p:extLst>
              <p:ext uri="{D42A27DB-BD31-4B8C-83A1-F6EECF244321}">
                <p14:modId xmlns:p14="http://schemas.microsoft.com/office/powerpoint/2010/main" val="288739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49183F9B-B0CF-E37C-8F0E-E13E6E7D6F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82EE5123-E9C8-5E14-53F6-938C01D83CA6}"/>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C5070786-2805-05F7-FEEE-EDA3D3BCFE88}"/>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A7F3F203-D044-9BDF-8F66-73186C4A41A1}"/>
              </a:ext>
            </a:extLst>
          </p:cNvPr>
          <p:cNvSpPr>
            <a:spLocks noGrp="1"/>
          </p:cNvSpPr>
          <p:nvPr>
            <p:ph type="sldNum" sz="quarter" idx="12"/>
          </p:nvPr>
        </p:nvSpPr>
        <p:spPr/>
        <p:txBody>
          <a:bodyPr/>
          <a:lstStyle/>
          <a:p>
            <a:fld id="{61F2D668-955E-AB45-9B4E-D4D3490B1261}" type="slidenum">
              <a:rPr lang="en-US" smtClean="0"/>
              <a:t>20</a:t>
            </a:fld>
            <a:endParaRPr lang="en-US"/>
          </a:p>
        </p:txBody>
      </p:sp>
      <p:sp>
        <p:nvSpPr>
          <p:cNvPr id="5" name="Tartalom helye 4">
            <a:extLst>
              <a:ext uri="{FF2B5EF4-FFF2-40B4-BE49-F238E27FC236}">
                <a16:creationId xmlns:a16="http://schemas.microsoft.com/office/drawing/2014/main" id="{41EF123D-C180-1078-D4F8-1F5CB25D28A2}"/>
              </a:ext>
            </a:extLst>
          </p:cNvPr>
          <p:cNvSpPr>
            <a:spLocks noGrp="1"/>
          </p:cNvSpPr>
          <p:nvPr>
            <p:ph idx="13"/>
          </p:nvPr>
        </p:nvSpPr>
        <p:spPr/>
        <p:txBody>
          <a:bodyPr/>
          <a:lstStyle/>
          <a:p>
            <a:endParaRPr lang="en-US"/>
          </a:p>
        </p:txBody>
      </p:sp>
    </p:spTree>
    <p:extLst>
      <p:ext uri="{BB962C8B-B14F-4D97-AF65-F5344CB8AC3E}">
        <p14:creationId xmlns:p14="http://schemas.microsoft.com/office/powerpoint/2010/main" val="38634848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1D99BA7-B3C5-3943-5DCC-D0FB311D43DF}"/>
              </a:ext>
            </a:extLst>
          </p:cNvPr>
          <p:cNvGraphicFramePr>
            <a:graphicFrameLocks noChangeAspect="1"/>
          </p:cNvGraphicFramePr>
          <p:nvPr>
            <p:custDataLst>
              <p:tags r:id="rId1"/>
            </p:custDataLst>
            <p:extLst>
              <p:ext uri="{D42A27DB-BD31-4B8C-83A1-F6EECF244321}">
                <p14:modId xmlns:p14="http://schemas.microsoft.com/office/powerpoint/2010/main" val="3291332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21D99BA7-B3C5-3943-5DCC-D0FB311D43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7FEFEED5-5815-D7FE-993D-4E3200C3D298}"/>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79CB7EE7-C0E8-AB59-03F9-2E5F9306118C}"/>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B1968052-C453-7846-F6AB-A2A25FFEDD96}"/>
              </a:ext>
            </a:extLst>
          </p:cNvPr>
          <p:cNvSpPr>
            <a:spLocks noGrp="1"/>
          </p:cNvSpPr>
          <p:nvPr>
            <p:ph type="sldNum" sz="quarter" idx="12"/>
          </p:nvPr>
        </p:nvSpPr>
        <p:spPr/>
        <p:txBody>
          <a:bodyPr/>
          <a:lstStyle/>
          <a:p>
            <a:fld id="{61F2D668-955E-AB45-9B4E-D4D3490B1261}" type="slidenum">
              <a:rPr lang="en-US" smtClean="0"/>
              <a:t>21</a:t>
            </a:fld>
            <a:endParaRPr lang="en-US"/>
          </a:p>
        </p:txBody>
      </p:sp>
      <p:sp>
        <p:nvSpPr>
          <p:cNvPr id="5" name="Tartalom helye 4">
            <a:extLst>
              <a:ext uri="{FF2B5EF4-FFF2-40B4-BE49-F238E27FC236}">
                <a16:creationId xmlns:a16="http://schemas.microsoft.com/office/drawing/2014/main" id="{C6AE555D-E39C-86AA-E069-BE29608B2173}"/>
              </a:ext>
            </a:extLst>
          </p:cNvPr>
          <p:cNvSpPr>
            <a:spLocks noGrp="1"/>
          </p:cNvSpPr>
          <p:nvPr>
            <p:ph idx="13"/>
          </p:nvPr>
        </p:nvSpPr>
        <p:spPr/>
        <p:txBody>
          <a:bodyPr/>
          <a:lstStyle/>
          <a:p>
            <a:endParaRPr lang="en-US"/>
          </a:p>
        </p:txBody>
      </p:sp>
    </p:spTree>
    <p:extLst>
      <p:ext uri="{BB962C8B-B14F-4D97-AF65-F5344CB8AC3E}">
        <p14:creationId xmlns:p14="http://schemas.microsoft.com/office/powerpoint/2010/main" val="1369949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2AB138D-13CF-FF6F-832F-0D2EA9D424B1}"/>
              </a:ext>
            </a:extLst>
          </p:cNvPr>
          <p:cNvGraphicFramePr>
            <a:graphicFrameLocks noChangeAspect="1"/>
          </p:cNvGraphicFramePr>
          <p:nvPr>
            <p:custDataLst>
              <p:tags r:id="rId1"/>
            </p:custDataLst>
            <p:extLst>
              <p:ext uri="{D42A27DB-BD31-4B8C-83A1-F6EECF244321}">
                <p14:modId xmlns:p14="http://schemas.microsoft.com/office/powerpoint/2010/main" val="2191524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E2AB138D-13CF-FF6F-832F-0D2EA9D424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A6CCD5C7-8681-72E5-B0C7-3C7F52FE9057}"/>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513A639A-10BF-DFA9-D7F7-9C0158B52EA4}"/>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51BD85A6-CD83-C3C1-48D6-FE13BBE1C2AB}"/>
              </a:ext>
            </a:extLst>
          </p:cNvPr>
          <p:cNvSpPr>
            <a:spLocks noGrp="1"/>
          </p:cNvSpPr>
          <p:nvPr>
            <p:ph type="sldNum" sz="quarter" idx="12"/>
          </p:nvPr>
        </p:nvSpPr>
        <p:spPr/>
        <p:txBody>
          <a:bodyPr/>
          <a:lstStyle/>
          <a:p>
            <a:fld id="{61F2D668-955E-AB45-9B4E-D4D3490B1261}" type="slidenum">
              <a:rPr lang="en-US" smtClean="0"/>
              <a:t>22</a:t>
            </a:fld>
            <a:endParaRPr lang="en-US"/>
          </a:p>
        </p:txBody>
      </p:sp>
      <p:sp>
        <p:nvSpPr>
          <p:cNvPr id="5" name="Tartalom helye 4">
            <a:extLst>
              <a:ext uri="{FF2B5EF4-FFF2-40B4-BE49-F238E27FC236}">
                <a16:creationId xmlns:a16="http://schemas.microsoft.com/office/drawing/2014/main" id="{D90AA5A3-BE6A-BCDD-1D05-3772FA371C73}"/>
              </a:ext>
            </a:extLst>
          </p:cNvPr>
          <p:cNvSpPr>
            <a:spLocks noGrp="1"/>
          </p:cNvSpPr>
          <p:nvPr>
            <p:ph idx="13"/>
          </p:nvPr>
        </p:nvSpPr>
        <p:spPr/>
        <p:txBody>
          <a:bodyPr/>
          <a:lstStyle/>
          <a:p>
            <a:endParaRPr lang="en-US"/>
          </a:p>
        </p:txBody>
      </p:sp>
    </p:spTree>
    <p:extLst>
      <p:ext uri="{BB962C8B-B14F-4D97-AF65-F5344CB8AC3E}">
        <p14:creationId xmlns:p14="http://schemas.microsoft.com/office/powerpoint/2010/main" val="3243807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FFB9E10-DB4F-9474-53EA-CA2A57A317B6}"/>
              </a:ext>
            </a:extLst>
          </p:cNvPr>
          <p:cNvGraphicFramePr>
            <a:graphicFrameLocks noChangeAspect="1"/>
          </p:cNvGraphicFramePr>
          <p:nvPr>
            <p:custDataLst>
              <p:tags r:id="rId1"/>
            </p:custDataLst>
            <p:extLst>
              <p:ext uri="{D42A27DB-BD31-4B8C-83A1-F6EECF244321}">
                <p14:modId xmlns:p14="http://schemas.microsoft.com/office/powerpoint/2010/main" val="1596298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AFFB9E10-DB4F-9474-53EA-CA2A57A317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19C6B9F0-8266-88BA-20EC-8EF7295E8617}"/>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A5E34AF3-BC4A-3403-8F8A-DDD5009D897A}"/>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A57B37CF-CF2F-F837-6534-26AAD411564B}"/>
              </a:ext>
            </a:extLst>
          </p:cNvPr>
          <p:cNvSpPr>
            <a:spLocks noGrp="1"/>
          </p:cNvSpPr>
          <p:nvPr>
            <p:ph type="sldNum" sz="quarter" idx="12"/>
          </p:nvPr>
        </p:nvSpPr>
        <p:spPr/>
        <p:txBody>
          <a:bodyPr/>
          <a:lstStyle/>
          <a:p>
            <a:fld id="{61F2D668-955E-AB45-9B4E-D4D3490B1261}" type="slidenum">
              <a:rPr lang="en-US" smtClean="0"/>
              <a:t>23</a:t>
            </a:fld>
            <a:endParaRPr lang="en-US"/>
          </a:p>
        </p:txBody>
      </p:sp>
      <p:sp>
        <p:nvSpPr>
          <p:cNvPr id="5" name="Tartalom helye 4">
            <a:extLst>
              <a:ext uri="{FF2B5EF4-FFF2-40B4-BE49-F238E27FC236}">
                <a16:creationId xmlns:a16="http://schemas.microsoft.com/office/drawing/2014/main" id="{1D95F50D-FCA1-873D-0486-0158D22572DF}"/>
              </a:ext>
            </a:extLst>
          </p:cNvPr>
          <p:cNvSpPr>
            <a:spLocks noGrp="1"/>
          </p:cNvSpPr>
          <p:nvPr>
            <p:ph idx="13"/>
          </p:nvPr>
        </p:nvSpPr>
        <p:spPr/>
        <p:txBody>
          <a:bodyPr/>
          <a:lstStyle/>
          <a:p>
            <a:endParaRPr lang="en-US"/>
          </a:p>
        </p:txBody>
      </p:sp>
    </p:spTree>
    <p:extLst>
      <p:ext uri="{BB962C8B-B14F-4D97-AF65-F5344CB8AC3E}">
        <p14:creationId xmlns:p14="http://schemas.microsoft.com/office/powerpoint/2010/main" val="3880982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8500A06-574D-B4F2-C88D-152F0F8F5DFB}"/>
              </a:ext>
            </a:extLst>
          </p:cNvPr>
          <p:cNvGraphicFramePr>
            <a:graphicFrameLocks noChangeAspect="1"/>
          </p:cNvGraphicFramePr>
          <p:nvPr>
            <p:custDataLst>
              <p:tags r:id="rId1"/>
            </p:custDataLst>
            <p:extLst>
              <p:ext uri="{D42A27DB-BD31-4B8C-83A1-F6EECF244321}">
                <p14:modId xmlns:p14="http://schemas.microsoft.com/office/powerpoint/2010/main" val="1968125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58500A06-574D-B4F2-C88D-152F0F8F5D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504F00E9-8209-541B-7315-E45AAB852307}"/>
              </a:ext>
            </a:extLst>
          </p:cNvPr>
          <p:cNvSpPr>
            <a:spLocks noGrp="1"/>
          </p:cNvSpPr>
          <p:nvPr>
            <p:ph type="title"/>
          </p:nvPr>
        </p:nvSpPr>
        <p:spPr/>
        <p:txBody>
          <a:bodyPr/>
          <a:lstStyle/>
          <a:p>
            <a:endParaRPr lang="en-US"/>
          </a:p>
        </p:txBody>
      </p:sp>
      <p:sp>
        <p:nvSpPr>
          <p:cNvPr id="4" name="Dia számának helye 3">
            <a:extLst>
              <a:ext uri="{FF2B5EF4-FFF2-40B4-BE49-F238E27FC236}">
                <a16:creationId xmlns:a16="http://schemas.microsoft.com/office/drawing/2014/main" id="{5BD5FE07-642A-6532-5C17-9F309CCC106D}"/>
              </a:ext>
            </a:extLst>
          </p:cNvPr>
          <p:cNvSpPr>
            <a:spLocks noGrp="1"/>
          </p:cNvSpPr>
          <p:nvPr>
            <p:ph type="sldNum" sz="quarter" idx="12"/>
          </p:nvPr>
        </p:nvSpPr>
        <p:spPr/>
        <p:txBody>
          <a:bodyPr/>
          <a:lstStyle/>
          <a:p>
            <a:fld id="{61F2D668-955E-AB45-9B4E-D4D3490B1261}" type="slidenum">
              <a:rPr lang="en-US" smtClean="0"/>
              <a:t>24</a:t>
            </a:fld>
            <a:endParaRPr lang="en-US"/>
          </a:p>
        </p:txBody>
      </p:sp>
      <p:sp>
        <p:nvSpPr>
          <p:cNvPr id="5" name="Tartalom helye 4">
            <a:extLst>
              <a:ext uri="{FF2B5EF4-FFF2-40B4-BE49-F238E27FC236}">
                <a16:creationId xmlns:a16="http://schemas.microsoft.com/office/drawing/2014/main" id="{97993068-853E-07AF-4210-4D08BEA879E1}"/>
              </a:ext>
            </a:extLst>
          </p:cNvPr>
          <p:cNvSpPr>
            <a:spLocks noGrp="1"/>
          </p:cNvSpPr>
          <p:nvPr>
            <p:ph idx="13"/>
          </p:nvPr>
        </p:nvSpPr>
        <p:spPr/>
        <p:txBody>
          <a:bodyPr/>
          <a:lstStyle/>
          <a:p>
            <a:endParaRPr lang="en-US"/>
          </a:p>
        </p:txBody>
      </p:sp>
      <p:sp>
        <p:nvSpPr>
          <p:cNvPr id="9" name="Tartalom helye 8">
            <a:extLst>
              <a:ext uri="{FF2B5EF4-FFF2-40B4-BE49-F238E27FC236}">
                <a16:creationId xmlns:a16="http://schemas.microsoft.com/office/drawing/2014/main" id="{DDB98B73-5BF0-20E4-1975-274174D0ED23}"/>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967479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FA9BDEC-5E0C-4980-43A3-994FA6187BFD}"/>
              </a:ext>
            </a:extLst>
          </p:cNvPr>
          <p:cNvGraphicFramePr>
            <a:graphicFrameLocks noChangeAspect="1"/>
          </p:cNvGraphicFramePr>
          <p:nvPr>
            <p:custDataLst>
              <p:tags r:id="rId1"/>
            </p:custDataLst>
            <p:extLst>
              <p:ext uri="{D42A27DB-BD31-4B8C-83A1-F6EECF244321}">
                <p14:modId xmlns:p14="http://schemas.microsoft.com/office/powerpoint/2010/main" val="3409419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FFA9BDEC-5E0C-4980-43A3-994FA6187B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A950C46-9DB8-B3DB-3685-FBA7DB44E0EB}"/>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C0FB3ED0-2EDC-4641-7075-489B85ED551D}"/>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0703723B-ED3A-E291-625E-1D1B887BC92B}"/>
              </a:ext>
            </a:extLst>
          </p:cNvPr>
          <p:cNvSpPr>
            <a:spLocks noGrp="1"/>
          </p:cNvSpPr>
          <p:nvPr>
            <p:ph type="sldNum" sz="quarter" idx="12"/>
          </p:nvPr>
        </p:nvSpPr>
        <p:spPr/>
        <p:txBody>
          <a:bodyPr/>
          <a:lstStyle/>
          <a:p>
            <a:fld id="{61F2D668-955E-AB45-9B4E-D4D3490B1261}" type="slidenum">
              <a:rPr lang="en-US" smtClean="0"/>
              <a:t>25</a:t>
            </a:fld>
            <a:endParaRPr lang="en-US"/>
          </a:p>
        </p:txBody>
      </p:sp>
      <p:sp>
        <p:nvSpPr>
          <p:cNvPr id="5" name="Tartalom helye 4">
            <a:extLst>
              <a:ext uri="{FF2B5EF4-FFF2-40B4-BE49-F238E27FC236}">
                <a16:creationId xmlns:a16="http://schemas.microsoft.com/office/drawing/2014/main" id="{7641926B-B6B9-D81F-DA2C-744D2590B6AB}"/>
              </a:ext>
            </a:extLst>
          </p:cNvPr>
          <p:cNvSpPr>
            <a:spLocks noGrp="1"/>
          </p:cNvSpPr>
          <p:nvPr>
            <p:ph idx="13"/>
          </p:nvPr>
        </p:nvSpPr>
        <p:spPr/>
        <p:txBody>
          <a:bodyPr/>
          <a:lstStyle/>
          <a:p>
            <a:endParaRPr lang="en-US"/>
          </a:p>
        </p:txBody>
      </p:sp>
    </p:spTree>
    <p:extLst>
      <p:ext uri="{BB962C8B-B14F-4D97-AF65-F5344CB8AC3E}">
        <p14:creationId xmlns:p14="http://schemas.microsoft.com/office/powerpoint/2010/main" val="12288958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3A4715E-B7F9-BA75-94AB-B57C471D4624}"/>
              </a:ext>
            </a:extLst>
          </p:cNvPr>
          <p:cNvGraphicFramePr>
            <a:graphicFrameLocks noChangeAspect="1"/>
          </p:cNvGraphicFramePr>
          <p:nvPr>
            <p:custDataLst>
              <p:tags r:id="rId1"/>
            </p:custDataLst>
            <p:extLst>
              <p:ext uri="{D42A27DB-BD31-4B8C-83A1-F6EECF244321}">
                <p14:modId xmlns:p14="http://schemas.microsoft.com/office/powerpoint/2010/main" val="1065168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63A4715E-B7F9-BA75-94AB-B57C471D46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A1669AA9-9371-B720-CA3A-15BF499E5E61}"/>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F97E2513-5C49-69C9-CF45-28D7D70D154A}"/>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86B112D9-9E4A-0DDF-DF01-494C86A59AE4}"/>
              </a:ext>
            </a:extLst>
          </p:cNvPr>
          <p:cNvSpPr>
            <a:spLocks noGrp="1"/>
          </p:cNvSpPr>
          <p:nvPr>
            <p:ph type="sldNum" sz="quarter" idx="12"/>
          </p:nvPr>
        </p:nvSpPr>
        <p:spPr/>
        <p:txBody>
          <a:bodyPr/>
          <a:lstStyle/>
          <a:p>
            <a:fld id="{61F2D668-955E-AB45-9B4E-D4D3490B1261}" type="slidenum">
              <a:rPr lang="en-US" smtClean="0"/>
              <a:t>26</a:t>
            </a:fld>
            <a:endParaRPr lang="en-US"/>
          </a:p>
        </p:txBody>
      </p:sp>
    </p:spTree>
    <p:extLst>
      <p:ext uri="{BB962C8B-B14F-4D97-AF65-F5344CB8AC3E}">
        <p14:creationId xmlns:p14="http://schemas.microsoft.com/office/powerpoint/2010/main" val="33676275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B5BBC2-E6F9-1BFF-7F3C-78A9EB033018}"/>
              </a:ext>
            </a:extLst>
          </p:cNvPr>
          <p:cNvGraphicFramePr>
            <a:graphicFrameLocks noChangeAspect="1"/>
          </p:cNvGraphicFramePr>
          <p:nvPr>
            <p:custDataLst>
              <p:tags r:id="rId1"/>
            </p:custDataLst>
            <p:extLst>
              <p:ext uri="{D42A27DB-BD31-4B8C-83A1-F6EECF244321}">
                <p14:modId xmlns:p14="http://schemas.microsoft.com/office/powerpoint/2010/main" val="1541898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99B5BBC2-E6F9-1BFF-7F3C-78A9EB0330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D2B45532-4806-5CD7-BCDF-33EE7544CA7E}"/>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B1AFBF56-E354-2DF8-FC70-FF72B2871996}"/>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A055EF12-F52B-8B7C-5CF2-6A45AAC509B4}"/>
              </a:ext>
            </a:extLst>
          </p:cNvPr>
          <p:cNvSpPr>
            <a:spLocks noGrp="1"/>
          </p:cNvSpPr>
          <p:nvPr>
            <p:ph type="sldNum" sz="quarter" idx="12"/>
          </p:nvPr>
        </p:nvSpPr>
        <p:spPr/>
        <p:txBody>
          <a:bodyPr/>
          <a:lstStyle/>
          <a:p>
            <a:fld id="{61F2D668-955E-AB45-9B4E-D4D3490B1261}" type="slidenum">
              <a:rPr lang="en-US" smtClean="0"/>
              <a:t>27</a:t>
            </a:fld>
            <a:endParaRPr lang="en-US"/>
          </a:p>
        </p:txBody>
      </p:sp>
    </p:spTree>
    <p:extLst>
      <p:ext uri="{BB962C8B-B14F-4D97-AF65-F5344CB8AC3E}">
        <p14:creationId xmlns:p14="http://schemas.microsoft.com/office/powerpoint/2010/main" val="41973328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744566-B933-54A3-2258-A7D190182CBE}"/>
              </a:ext>
            </a:extLst>
          </p:cNvPr>
          <p:cNvGraphicFramePr>
            <a:graphicFrameLocks noChangeAspect="1"/>
          </p:cNvGraphicFramePr>
          <p:nvPr>
            <p:custDataLst>
              <p:tags r:id="rId1"/>
            </p:custDataLst>
            <p:extLst>
              <p:ext uri="{D42A27DB-BD31-4B8C-83A1-F6EECF244321}">
                <p14:modId xmlns:p14="http://schemas.microsoft.com/office/powerpoint/2010/main" val="1160989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48744566-B933-54A3-2258-A7D190182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187FE395-2408-7745-5F19-920D75F953D7}"/>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9289E896-88F3-4F7A-262D-0A1E3E6301E2}"/>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43DB04E5-9DFA-42B4-2543-32DE9059245C}"/>
              </a:ext>
            </a:extLst>
          </p:cNvPr>
          <p:cNvSpPr>
            <a:spLocks noGrp="1"/>
          </p:cNvSpPr>
          <p:nvPr>
            <p:ph type="sldNum" sz="quarter" idx="12"/>
          </p:nvPr>
        </p:nvSpPr>
        <p:spPr/>
        <p:txBody>
          <a:bodyPr/>
          <a:lstStyle/>
          <a:p>
            <a:fld id="{61F2D668-955E-AB45-9B4E-D4D3490B1261}" type="slidenum">
              <a:rPr lang="en-US" smtClean="0"/>
              <a:t>28</a:t>
            </a:fld>
            <a:endParaRPr lang="en-US"/>
          </a:p>
        </p:txBody>
      </p:sp>
    </p:spTree>
    <p:extLst>
      <p:ext uri="{BB962C8B-B14F-4D97-AF65-F5344CB8AC3E}">
        <p14:creationId xmlns:p14="http://schemas.microsoft.com/office/powerpoint/2010/main" val="15525741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8DFF64-AED2-4850-C79E-4E4389576EEB}"/>
              </a:ext>
            </a:extLst>
          </p:cNvPr>
          <p:cNvGraphicFramePr>
            <a:graphicFrameLocks noChangeAspect="1"/>
          </p:cNvGraphicFramePr>
          <p:nvPr>
            <p:custDataLst>
              <p:tags r:id="rId1"/>
            </p:custDataLst>
            <p:extLst>
              <p:ext uri="{D42A27DB-BD31-4B8C-83A1-F6EECF244321}">
                <p14:modId xmlns:p14="http://schemas.microsoft.com/office/powerpoint/2010/main" val="2320462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458DFF64-AED2-4850-C79E-4E4389576E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112AA805-5338-A7A0-14E1-06C2906366F0}"/>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AD46B80D-5C80-D27D-4A48-464D64AD9CA6}"/>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8E8AA80A-BC20-BE28-EE8C-65BC048D04A5}"/>
              </a:ext>
            </a:extLst>
          </p:cNvPr>
          <p:cNvSpPr>
            <a:spLocks noGrp="1"/>
          </p:cNvSpPr>
          <p:nvPr>
            <p:ph type="sldNum" sz="quarter" idx="12"/>
          </p:nvPr>
        </p:nvSpPr>
        <p:spPr/>
        <p:txBody>
          <a:bodyPr/>
          <a:lstStyle/>
          <a:p>
            <a:fld id="{61F2D668-955E-AB45-9B4E-D4D3490B1261}" type="slidenum">
              <a:rPr lang="en-US" smtClean="0"/>
              <a:t>29</a:t>
            </a:fld>
            <a:endParaRPr lang="en-US"/>
          </a:p>
        </p:txBody>
      </p:sp>
    </p:spTree>
    <p:extLst>
      <p:ext uri="{BB962C8B-B14F-4D97-AF65-F5344CB8AC3E}">
        <p14:creationId xmlns:p14="http://schemas.microsoft.com/office/powerpoint/2010/main" val="421738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194AD6-532F-0924-9008-4C5BB1541540}"/>
              </a:ext>
            </a:extLst>
          </p:cNvPr>
          <p:cNvGraphicFramePr>
            <a:graphicFrameLocks noChangeAspect="1"/>
          </p:cNvGraphicFramePr>
          <p:nvPr>
            <p:custDataLst>
              <p:tags r:id="rId1"/>
            </p:custDataLst>
            <p:extLst>
              <p:ext uri="{D42A27DB-BD31-4B8C-83A1-F6EECF244321}">
                <p14:modId xmlns:p14="http://schemas.microsoft.com/office/powerpoint/2010/main" val="3493254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8" name="Object 7" hidden="1">
                        <a:extLst>
                          <a:ext uri="{FF2B5EF4-FFF2-40B4-BE49-F238E27FC236}">
                            <a16:creationId xmlns:a16="http://schemas.microsoft.com/office/drawing/2014/main" id="{57194AD6-532F-0924-9008-4C5BB15415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A611F8C-7580-0898-D600-B0B8FAC00727}"/>
              </a:ext>
            </a:extLst>
          </p:cNvPr>
          <p:cNvSpPr/>
          <p:nvPr/>
        </p:nvSpPr>
        <p:spPr>
          <a:xfrm>
            <a:off x="9160532" y="6200667"/>
            <a:ext cx="2433907" cy="503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highlight>
                  <a:srgbClr val="FFCCDC"/>
                </a:highlight>
                <a:latin typeface="Open Sauce One" panose="00000800000000000000"/>
                <a:ea typeface="Lato" panose="020F0502020204030203" pitchFamily="34" charset="0"/>
                <a:cs typeface="Lato" panose="020F0502020204030203" pitchFamily="34" charset="0"/>
              </a:rPr>
              <a:t>* Update since last week</a:t>
            </a:r>
            <a:r>
              <a:rPr lang="en-GB" sz="900">
                <a:solidFill>
                  <a:schemeClr val="tx1"/>
                </a:solidFill>
                <a:latin typeface="Open Sauce One" panose="00000800000000000000"/>
                <a:ea typeface="Lato" panose="020F0502020204030203" pitchFamily="34" charset="0"/>
                <a:cs typeface="Lato" panose="020F0502020204030203" pitchFamily="34" charset="0"/>
              </a:rPr>
              <a:t>  </a:t>
            </a:r>
            <a:r>
              <a:rPr lang="en-GB" sz="900">
                <a:solidFill>
                  <a:schemeClr val="tx1"/>
                </a:solidFill>
                <a:highlight>
                  <a:srgbClr val="FFFF00"/>
                </a:highlight>
                <a:latin typeface="Open Sauce One" panose="00000800000000000000"/>
                <a:ea typeface="Lato" panose="020F0502020204030203" pitchFamily="34" charset="0"/>
                <a:cs typeface="Lato" panose="020F0502020204030203" pitchFamily="34" charset="0"/>
              </a:rPr>
              <a:t>Live Update</a:t>
            </a:r>
          </a:p>
        </p:txBody>
      </p:sp>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a:xfrm>
            <a:off x="407988" y="963466"/>
            <a:ext cx="11341100" cy="584775"/>
          </a:xfrm>
        </p:spPr>
        <p:txBody>
          <a:bodyPr vert="horz"/>
          <a:lstStyle/>
          <a:p>
            <a:r>
              <a:rPr lang="en-US">
                <a:latin typeface="Open Sauce One" panose="00000800000000000000"/>
              </a:rPr>
              <a:t>Actions neither related with Risks nor with JIRA Stories</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latin typeface="Open Sauce One" panose="00000800000000000000"/>
              </a:rPr>
              <a:t>3</a:t>
            </a:fld>
            <a:endParaRPr lang="en-US">
              <a:latin typeface="Open Sauce One" panose="00000800000000000000"/>
            </a:endParaRPr>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latin typeface="Open Sauce One" panose="00000800000000000000"/>
              </a:rPr>
              <a:t>RAID (Risks, Actions, Issues &amp; Decisions) Follow-up</a:t>
            </a:r>
          </a:p>
        </p:txBody>
      </p:sp>
      <p:graphicFrame>
        <p:nvGraphicFramePr>
          <p:cNvPr id="7" name="Table 20">
            <a:extLst>
              <a:ext uri="{FF2B5EF4-FFF2-40B4-BE49-F238E27FC236}">
                <a16:creationId xmlns:a16="http://schemas.microsoft.com/office/drawing/2014/main" id="{1F13A2E4-818E-9DCE-8C94-2435952FC187}"/>
              </a:ext>
            </a:extLst>
          </p:cNvPr>
          <p:cNvGraphicFramePr>
            <a:graphicFrameLocks noGrp="1"/>
          </p:cNvGraphicFramePr>
          <p:nvPr>
            <p:extLst>
              <p:ext uri="{D42A27DB-BD31-4B8C-83A1-F6EECF244321}">
                <p14:modId xmlns:p14="http://schemas.microsoft.com/office/powerpoint/2010/main" val="287889216"/>
              </p:ext>
            </p:extLst>
          </p:nvPr>
        </p:nvGraphicFramePr>
        <p:xfrm>
          <a:off x="425446" y="1628518"/>
          <a:ext cx="11341098" cy="4525539"/>
        </p:xfrm>
        <a:graphic>
          <a:graphicData uri="http://schemas.openxmlformats.org/drawingml/2006/table">
            <a:tbl>
              <a:tblPr firstRow="1" bandRow="1">
                <a:tableStyleId>{5C22544A-7EE6-4342-B048-85BDC9FD1C3A}</a:tableStyleId>
              </a:tblPr>
              <a:tblGrid>
                <a:gridCol w="353498">
                  <a:extLst>
                    <a:ext uri="{9D8B030D-6E8A-4147-A177-3AD203B41FA5}">
                      <a16:colId xmlns:a16="http://schemas.microsoft.com/office/drawing/2014/main" val="3244616842"/>
                    </a:ext>
                  </a:extLst>
                </a:gridCol>
                <a:gridCol w="3173092">
                  <a:extLst>
                    <a:ext uri="{9D8B030D-6E8A-4147-A177-3AD203B41FA5}">
                      <a16:colId xmlns:a16="http://schemas.microsoft.com/office/drawing/2014/main" val="2386481620"/>
                    </a:ext>
                  </a:extLst>
                </a:gridCol>
                <a:gridCol w="903639">
                  <a:extLst>
                    <a:ext uri="{9D8B030D-6E8A-4147-A177-3AD203B41FA5}">
                      <a16:colId xmlns:a16="http://schemas.microsoft.com/office/drawing/2014/main" val="2503647407"/>
                    </a:ext>
                  </a:extLst>
                </a:gridCol>
                <a:gridCol w="1070097">
                  <a:extLst>
                    <a:ext uri="{9D8B030D-6E8A-4147-A177-3AD203B41FA5}">
                      <a16:colId xmlns:a16="http://schemas.microsoft.com/office/drawing/2014/main" val="430674172"/>
                    </a:ext>
                  </a:extLst>
                </a:gridCol>
                <a:gridCol w="1289879">
                  <a:extLst>
                    <a:ext uri="{9D8B030D-6E8A-4147-A177-3AD203B41FA5}">
                      <a16:colId xmlns:a16="http://schemas.microsoft.com/office/drawing/2014/main" val="4026057114"/>
                    </a:ext>
                  </a:extLst>
                </a:gridCol>
                <a:gridCol w="1006328">
                  <a:extLst>
                    <a:ext uri="{9D8B030D-6E8A-4147-A177-3AD203B41FA5}">
                      <a16:colId xmlns:a16="http://schemas.microsoft.com/office/drawing/2014/main" val="3217662333"/>
                    </a:ext>
                  </a:extLst>
                </a:gridCol>
                <a:gridCol w="1056366">
                  <a:extLst>
                    <a:ext uri="{9D8B030D-6E8A-4147-A177-3AD203B41FA5}">
                      <a16:colId xmlns:a16="http://schemas.microsoft.com/office/drawing/2014/main" val="3517698874"/>
                    </a:ext>
                  </a:extLst>
                </a:gridCol>
                <a:gridCol w="2488199">
                  <a:extLst>
                    <a:ext uri="{9D8B030D-6E8A-4147-A177-3AD203B41FA5}">
                      <a16:colId xmlns:a16="http://schemas.microsoft.com/office/drawing/2014/main" val="1199696440"/>
                    </a:ext>
                  </a:extLst>
                </a:gridCol>
              </a:tblGrid>
              <a:tr h="363216">
                <a:tc>
                  <a:txBody>
                    <a:bodyPr/>
                    <a:lstStyle/>
                    <a:p>
                      <a:r>
                        <a:rPr lang="en-US" sz="1000">
                          <a:solidFill>
                            <a:schemeClr val="tx1"/>
                          </a:solidFill>
                          <a:latin typeface="Open Sauce One"/>
                          <a:ea typeface="Lato"/>
                          <a:cs typeface="Lato"/>
                        </a:rPr>
                        <a:t>Id</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0000"/>
                      </a:schemeClr>
                    </a:solidFill>
                  </a:tcPr>
                </a:tc>
                <a:tc>
                  <a:txBody>
                    <a:bodyPr/>
                    <a:lstStyle/>
                    <a:p>
                      <a:r>
                        <a:rPr lang="en-US" sz="1000" dirty="0">
                          <a:solidFill>
                            <a:schemeClr val="tx1"/>
                          </a:solidFill>
                          <a:latin typeface="Open Sauce One"/>
                          <a:ea typeface="Lato"/>
                          <a:cs typeface="Lato"/>
                        </a:rPr>
                        <a:t>Description</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0000"/>
                      </a:schemeClr>
                    </a:solidFill>
                  </a:tcPr>
                </a:tc>
                <a:tc>
                  <a:txBody>
                    <a:bodyPr/>
                    <a:lstStyle/>
                    <a:p>
                      <a:r>
                        <a:rPr lang="en-US" sz="1000" dirty="0">
                          <a:solidFill>
                            <a:schemeClr val="tx1"/>
                          </a:solidFill>
                          <a:latin typeface="Open Sauce One"/>
                          <a:ea typeface="Lato"/>
                          <a:cs typeface="Lato"/>
                        </a:rPr>
                        <a:t>Status</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0000"/>
                      </a:schemeClr>
                    </a:solidFill>
                  </a:tcPr>
                </a:tc>
                <a:tc>
                  <a:txBody>
                    <a:bodyPr/>
                    <a:lstStyle/>
                    <a:p>
                      <a:r>
                        <a:rPr lang="en-US" sz="1000">
                          <a:solidFill>
                            <a:schemeClr val="tx1"/>
                          </a:solidFill>
                          <a:latin typeface="Open Sauce One"/>
                          <a:ea typeface="Lato"/>
                          <a:cs typeface="Lato"/>
                        </a:rPr>
                        <a:t>Responsible</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0000"/>
                      </a:schemeClr>
                    </a:solidFill>
                  </a:tcPr>
                </a:tc>
                <a:tc>
                  <a:txBody>
                    <a:bodyPr/>
                    <a:lstStyle/>
                    <a:p>
                      <a:r>
                        <a:rPr lang="en-US" sz="1000">
                          <a:solidFill>
                            <a:schemeClr val="tx1"/>
                          </a:solidFill>
                          <a:latin typeface="Open Sauce One"/>
                          <a:ea typeface="Lato"/>
                          <a:cs typeface="Lato"/>
                        </a:rPr>
                        <a:t>Open Date</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0000"/>
                      </a:schemeClr>
                    </a:solidFill>
                  </a:tcPr>
                </a:tc>
                <a:tc>
                  <a:txBody>
                    <a:bodyPr/>
                    <a:lstStyle/>
                    <a:p>
                      <a:r>
                        <a:rPr lang="en-US" sz="1000">
                          <a:solidFill>
                            <a:schemeClr val="tx1"/>
                          </a:solidFill>
                          <a:latin typeface="Open Sauce One"/>
                          <a:ea typeface="Lato"/>
                          <a:cs typeface="Lato"/>
                        </a:rPr>
                        <a:t>Est. Close Date</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0000"/>
                      </a:schemeClr>
                    </a:solidFill>
                  </a:tcPr>
                </a:tc>
                <a:tc>
                  <a:txBody>
                    <a:bodyPr/>
                    <a:lstStyle/>
                    <a:p>
                      <a:r>
                        <a:rPr lang="en-US" sz="1000" dirty="0">
                          <a:solidFill>
                            <a:schemeClr val="tx1"/>
                          </a:solidFill>
                          <a:latin typeface="Open Sauce One"/>
                          <a:ea typeface="Lato"/>
                          <a:cs typeface="Lato"/>
                        </a:rPr>
                        <a:t>Closed at</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0000"/>
                      </a:schemeClr>
                    </a:solidFill>
                  </a:tcPr>
                </a:tc>
                <a:tc>
                  <a:txBody>
                    <a:bodyPr/>
                    <a:lstStyle/>
                    <a:p>
                      <a:r>
                        <a:rPr lang="en-US" sz="1000" dirty="0">
                          <a:solidFill>
                            <a:schemeClr val="tx1"/>
                          </a:solidFill>
                          <a:latin typeface="Open Sauce One"/>
                          <a:ea typeface="Lato"/>
                          <a:cs typeface="Lato"/>
                        </a:rPr>
                        <a:t>Comments</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0000"/>
                      </a:schemeClr>
                    </a:solidFill>
                  </a:tcPr>
                </a:tc>
                <a:extLst>
                  <a:ext uri="{0D108BD9-81ED-4DB2-BD59-A6C34878D82A}">
                    <a16:rowId xmlns:a16="http://schemas.microsoft.com/office/drawing/2014/main" val="1776493418"/>
                  </a:ext>
                </a:extLst>
              </a:tr>
              <a:tr h="735898">
                <a:tc>
                  <a:txBody>
                    <a:bodyPr/>
                    <a:lstStyle/>
                    <a:p>
                      <a:pPr algn="l" rtl="0" fontAlgn="ctr"/>
                      <a:r>
                        <a:rPr lang="en-US" sz="1000" b="0" i="0" u="none" strike="noStrike">
                          <a:solidFill>
                            <a:srgbClr val="000000"/>
                          </a:solidFill>
                          <a:effectLst/>
                          <a:latin typeface="Open Sauce One" panose="00000800000000000000"/>
                        </a:rPr>
                        <a:t>A11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000" b="0" i="0" u="none" strike="noStrike">
                          <a:solidFill>
                            <a:srgbClr val="000000"/>
                          </a:solidFill>
                          <a:effectLst/>
                          <a:latin typeface="Open Sauce One" panose="00000800000000000000"/>
                        </a:rPr>
                        <a:t>KP Schedule a call with the Product Owner and rest of the project team regarding how testing will be performed </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Open Sauce One" panose="00000800000000000000"/>
                        </a:rPr>
                        <a:t>In Progr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err="1">
                          <a:solidFill>
                            <a:srgbClr val="000000"/>
                          </a:solidFill>
                          <a:effectLst/>
                          <a:latin typeface="Open Sauce One" panose="00000800000000000000"/>
                        </a:rPr>
                        <a:t>Edward,</a:t>
                      </a:r>
                      <a:r>
                        <a:rPr lang="en-US" sz="1000" b="0" i="0" u="none" strike="noStrike" dirty="0" err="1">
                          <a:solidFill>
                            <a:srgbClr val="000000"/>
                          </a:solidFill>
                          <a:effectLst/>
                          <a:highlight>
                            <a:srgbClr val="FFFF00"/>
                          </a:highlight>
                          <a:latin typeface="Open Sauce One" panose="00000800000000000000"/>
                        </a:rPr>
                        <a:t>Alexus</a:t>
                      </a:r>
                      <a:endParaRPr lang="en-US" sz="1000" b="0" i="0" u="none" strike="noStrike" dirty="0">
                        <a:solidFill>
                          <a:srgbClr val="000000"/>
                        </a:solidFill>
                        <a:effectLst/>
                        <a:highlight>
                          <a:srgbClr val="FFFF00"/>
                        </a:highligh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October 13, 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a:solidFill>
                            <a:srgbClr val="000000"/>
                          </a:solidFill>
                          <a:effectLst/>
                          <a:latin typeface="Open Sauce One" panose="00000800000000000000"/>
                        </a:rPr>
                        <a:t>January 5, 2024</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000" b="0" i="0" u="none" strike="noStrike">
                          <a:solidFill>
                            <a:srgbClr val="000000"/>
                          </a:solidFill>
                          <a:effectLst/>
                          <a:latin typeface="Open Sauce One" panose="00000800000000000000"/>
                        </a:rPr>
                        <a:t> </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000" b="0" i="0" u="none" strike="noStrike" dirty="0">
                          <a:solidFill>
                            <a:srgbClr val="000000"/>
                          </a:solidFill>
                          <a:effectLst/>
                          <a:latin typeface="Open Sauce One" panose="00000800000000000000"/>
                        </a:rPr>
                        <a:t>Edward to schedule a call with the UAT testing team  Alexus /Karen ensure UAT test scripts are finalized and uploaded in Jira beforehand. </a:t>
                      </a:r>
                      <a:r>
                        <a:rPr lang="en-US" sz="1000" b="0" i="0" u="none" strike="noStrike" dirty="0">
                          <a:solidFill>
                            <a:srgbClr val="000000"/>
                          </a:solidFill>
                          <a:effectLst/>
                          <a:highlight>
                            <a:srgbClr val="FFFF00"/>
                          </a:highlight>
                          <a:latin typeface="Open Sauce One" panose="00000800000000000000"/>
                        </a:rPr>
                        <a:t>Edward will schedule the meeting first week of Jan.</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60078448"/>
                  </a:ext>
                </a:extLst>
              </a:tr>
              <a:tr h="647681">
                <a:tc>
                  <a:txBody>
                    <a:bodyPr/>
                    <a:lstStyle/>
                    <a:p>
                      <a:pPr algn="l" rtl="0" fontAlgn="ctr"/>
                      <a:r>
                        <a:rPr lang="en-US" sz="1000" b="0" i="0" u="none" strike="noStrike">
                          <a:solidFill>
                            <a:srgbClr val="000000"/>
                          </a:solidFill>
                          <a:effectLst/>
                          <a:latin typeface="Open Sauce One" panose="00000800000000000000"/>
                        </a:rPr>
                        <a:t>A130</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000" b="0" i="0" u="none" strike="noStrike">
                          <a:solidFill>
                            <a:srgbClr val="000000"/>
                          </a:solidFill>
                          <a:effectLst/>
                          <a:latin typeface="Open Sauce One" panose="00000800000000000000"/>
                        </a:rPr>
                        <a:t>Hy provide feedback regarding Posting data received </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In Progr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a:solidFill>
                            <a:srgbClr val="000000"/>
                          </a:solidFill>
                          <a:effectLst/>
                          <a:latin typeface="Open Sauce One" panose="00000800000000000000"/>
                        </a:rPr>
                        <a:t>Steven, Pani</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a:solidFill>
                            <a:srgbClr val="000000"/>
                          </a:solidFill>
                          <a:effectLst/>
                          <a:latin typeface="Open Sauce One" panose="00000800000000000000"/>
                        </a:rPr>
                        <a:t>November 29, 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January 5, 2024</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000" b="0" i="0" u="none" strike="noStrike">
                          <a:solidFill>
                            <a:srgbClr val="000000"/>
                          </a:solidFill>
                          <a:effectLst/>
                          <a:latin typeface="Open Sauce One" panose="00000800000000000000"/>
                        </a:rPr>
                        <a:t> </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000" b="0" i="0" u="none" strike="noStrike" dirty="0">
                          <a:solidFill>
                            <a:srgbClr val="000000"/>
                          </a:solidFill>
                          <a:effectLst/>
                          <a:latin typeface="Open Sauce One" panose="00000800000000000000"/>
                        </a:rPr>
                        <a:t>KP to repeat posting data test as part of E2E testing.  </a:t>
                      </a:r>
                      <a:r>
                        <a:rPr lang="en-US" sz="1000" b="0" i="0" u="none" strike="noStrike" dirty="0">
                          <a:solidFill>
                            <a:srgbClr val="000000"/>
                          </a:solidFill>
                          <a:effectLst/>
                          <a:highlight>
                            <a:srgbClr val="F0C7D7"/>
                          </a:highlight>
                          <a:latin typeface="Open Sauce One" panose="00000800000000000000"/>
                        </a:rPr>
                        <a:t>Latest update: Posting data is now visible on Insights. KP is now able to receive ‘ID’ as a response from Hypato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745489"/>
                  </a:ext>
                </a:extLst>
              </a:tr>
              <a:tr h="647681">
                <a:tc>
                  <a:txBody>
                    <a:bodyPr/>
                    <a:lstStyle/>
                    <a:p>
                      <a:pPr algn="l" rtl="0" fontAlgn="ctr"/>
                      <a:r>
                        <a:rPr lang="en-US" sz="1000" b="0" i="0" u="none" strike="noStrike">
                          <a:solidFill>
                            <a:srgbClr val="000000"/>
                          </a:solidFill>
                          <a:effectLst/>
                          <a:latin typeface="Open Sauce One" panose="00000800000000000000"/>
                        </a:rPr>
                        <a:t>A131</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000" b="0" i="0" u="none" strike="noStrike" dirty="0">
                          <a:solidFill>
                            <a:srgbClr val="000000"/>
                          </a:solidFill>
                          <a:effectLst/>
                          <a:latin typeface="Open Sauce One" panose="00000800000000000000"/>
                        </a:rPr>
                        <a:t>HY set up a new Project in Studio for Performance test</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In Progr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a:solidFill>
                            <a:srgbClr val="000000"/>
                          </a:solidFill>
                          <a:effectLst/>
                          <a:latin typeface="Open Sauce One" panose="00000800000000000000"/>
                        </a:rPr>
                        <a:t>Jorge</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a:solidFill>
                            <a:srgbClr val="000000"/>
                          </a:solidFill>
                          <a:effectLst/>
                          <a:latin typeface="Open Sauce One" panose="00000800000000000000"/>
                        </a:rPr>
                        <a:t>November 29, 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a:solidFill>
                            <a:srgbClr val="000000"/>
                          </a:solidFill>
                          <a:effectLst/>
                          <a:latin typeface="Open Sauce One" panose="00000800000000000000"/>
                        </a:rPr>
                        <a:t>January 5, 2024</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000" b="0" i="0" u="none" strike="noStrike">
                          <a:solidFill>
                            <a:srgbClr val="000000"/>
                          </a:solidFill>
                          <a:effectLst/>
                          <a:latin typeface="Open Sauce One" panose="00000800000000000000"/>
                        </a:rPr>
                        <a:t> </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a:solidFill>
                            <a:srgbClr val="000000"/>
                          </a:solidFill>
                          <a:effectLst/>
                          <a:latin typeface="Open Sauce One" panose="00000800000000000000"/>
                        </a:rPr>
                        <a:t>Project Set up by Jorge, 4697 docs were completed by Studio. </a:t>
                      </a:r>
                      <a:r>
                        <a:rPr lang="en-US" sz="1000" b="0" i="0" u="none" strike="noStrike" dirty="0">
                          <a:solidFill>
                            <a:srgbClr val="000000"/>
                          </a:solidFill>
                          <a:effectLst/>
                          <a:highlight>
                            <a:srgbClr val="F0C7D7"/>
                          </a:highlight>
                          <a:latin typeface="Open Sauce One" panose="00000800000000000000"/>
                        </a:rPr>
                        <a:t>Awaiting performance testing results that will be executed in Jan 2024.</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2495882"/>
                  </a:ext>
                </a:extLst>
              </a:tr>
              <a:tr h="647681">
                <a:tc>
                  <a:txBody>
                    <a:bodyPr/>
                    <a:lstStyle/>
                    <a:p>
                      <a:pPr algn="l" rtl="0" fontAlgn="ctr"/>
                      <a:r>
                        <a:rPr lang="en-US" sz="1000" b="0" i="0" u="none" strike="noStrike">
                          <a:solidFill>
                            <a:srgbClr val="000000"/>
                          </a:solidFill>
                          <a:effectLst/>
                          <a:latin typeface="Open Sauce One" panose="00000800000000000000"/>
                        </a:rPr>
                        <a:t>A132</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000" b="0" i="0" u="none" strike="noStrike" dirty="0">
                          <a:solidFill>
                            <a:srgbClr val="000000"/>
                          </a:solidFill>
                          <a:effectLst/>
                          <a:latin typeface="Open Sauce One" panose="00000800000000000000"/>
                        </a:rPr>
                        <a:t>HY Review UAT testers list provided by Rich and granted them access to Hy Academy</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highlight>
                            <a:srgbClr val="F0C7D7"/>
                          </a:highlight>
                          <a:latin typeface="Open Sauce One" panose="00000800000000000000"/>
                        </a:rPr>
                        <a:t>In Progr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Leticia</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December 13, 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highlight>
                            <a:srgbClr val="FFFF00"/>
                          </a:highlight>
                          <a:latin typeface="Open Sauce One" panose="00000800000000000000"/>
                        </a:rPr>
                        <a:t>January 5, 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000" b="0" i="0" u="none" strike="noStrike">
                          <a:solidFill>
                            <a:srgbClr val="000000"/>
                          </a:solidFill>
                          <a:effectLst/>
                          <a:latin typeface="Open Sauce One" panose="00000800000000000000"/>
                        </a:rPr>
                        <a:t> </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a:solidFill>
                            <a:srgbClr val="000000"/>
                          </a:solidFill>
                          <a:effectLst/>
                          <a:latin typeface="Open Sauce One" panose="00000800000000000000"/>
                        </a:rPr>
                        <a:t>Enable the UAT testing team on the X-ray (linked to A113) – Karen Calhoun has already access so double-check the user list. </a:t>
                      </a:r>
                      <a:r>
                        <a:rPr lang="en-US" sz="1000" b="0" i="0" u="none" strike="noStrike" dirty="0">
                          <a:solidFill>
                            <a:srgbClr val="000000"/>
                          </a:solidFill>
                          <a:effectLst/>
                          <a:highlight>
                            <a:srgbClr val="F0C7D7"/>
                          </a:highlight>
                          <a:latin typeface="Open Sauce One" panose="00000800000000000000"/>
                        </a:rPr>
                        <a:t>Access was granted to UAT user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1626153"/>
                  </a:ext>
                </a:extLst>
              </a:tr>
              <a:tr h="485760">
                <a:tc>
                  <a:txBody>
                    <a:bodyPr/>
                    <a:lstStyle/>
                    <a:p>
                      <a:pPr algn="l" rtl="0" fontAlgn="ctr"/>
                      <a:r>
                        <a:rPr lang="en-US" sz="1000" b="0" i="0" u="none" strike="noStrike">
                          <a:solidFill>
                            <a:srgbClr val="000000"/>
                          </a:solidFill>
                          <a:effectLst/>
                          <a:latin typeface="Open Sauce One" panose="00000800000000000000"/>
                        </a:rPr>
                        <a:t>A13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a:solidFill>
                            <a:srgbClr val="000000"/>
                          </a:solidFill>
                          <a:effectLst/>
                          <a:latin typeface="Open Sauce One" panose="00000800000000000000"/>
                        </a:rPr>
                        <a:t>Adjust the Studio schemas to boost auto-completion rate and sort out special GL string case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highlight>
                            <a:srgbClr val="F0C7D7"/>
                          </a:highlight>
                          <a:latin typeface="Open Sauce One" panose="00000800000000000000"/>
                        </a:rPr>
                        <a:t>In Progr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a:solidFill>
                            <a:srgbClr val="000000"/>
                          </a:solidFill>
                          <a:effectLst/>
                          <a:latin typeface="Open Sauce One" panose="00000800000000000000"/>
                        </a:rPr>
                        <a:t>Jorge,Leticia</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a:solidFill>
                            <a:srgbClr val="000000"/>
                          </a:solidFill>
                          <a:effectLst/>
                          <a:latin typeface="Open Sauce One" panose="00000800000000000000"/>
                        </a:rPr>
                        <a:t>December 13, 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January 8, 2024</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a:solidFill>
                            <a:srgbClr val="000000"/>
                          </a:solidFill>
                          <a:effectLst/>
                          <a:latin typeface="Open Sauce One" panose="00000800000000000000"/>
                        </a:rPr>
                        <a:t> </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t"/>
                      <a:r>
                        <a:rPr lang="en-US" sz="1000" b="0" i="0" u="none" strike="noStrike" dirty="0">
                          <a:solidFill>
                            <a:srgbClr val="000000"/>
                          </a:solidFill>
                          <a:effectLst/>
                          <a:latin typeface="Open Sauce One" panose="00000800000000000000"/>
                        </a:rPr>
                        <a:t>Replace “</a:t>
                      </a:r>
                      <a:r>
                        <a:rPr lang="en-US" sz="1000" b="0" i="0" u="none" strike="noStrike" dirty="0" err="1">
                          <a:solidFill>
                            <a:srgbClr val="000000"/>
                          </a:solidFill>
                          <a:effectLst/>
                          <a:latin typeface="Open Sauce One" panose="00000800000000000000"/>
                        </a:rPr>
                        <a:t>blank”,”X</a:t>
                      </a:r>
                      <a:r>
                        <a:rPr lang="en-US" sz="1000" b="0" i="0" u="none" strike="noStrike" dirty="0">
                          <a:solidFill>
                            <a:srgbClr val="000000"/>
                          </a:solidFill>
                          <a:effectLst/>
                          <a:latin typeface="Open Sauce One" panose="00000800000000000000"/>
                        </a:rPr>
                        <a:t>”,”_” by “0” in the GL Account code. </a:t>
                      </a:r>
                      <a:r>
                        <a:rPr lang="en-US" sz="1000" b="0" i="0" u="none" strike="noStrike" dirty="0">
                          <a:solidFill>
                            <a:srgbClr val="000000"/>
                          </a:solidFill>
                          <a:effectLst/>
                          <a:highlight>
                            <a:srgbClr val="F0C7D7"/>
                          </a:highlight>
                          <a:latin typeface="Open Sauce One" panose="00000800000000000000"/>
                        </a:rPr>
                        <a:t>Double check UOM validation rule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1420035"/>
                  </a:ext>
                </a:extLst>
              </a:tr>
              <a:tr h="485760">
                <a:tc>
                  <a:txBody>
                    <a:bodyPr/>
                    <a:lstStyle/>
                    <a:p>
                      <a:pPr algn="l" rtl="0" fontAlgn="ctr"/>
                      <a:r>
                        <a:rPr lang="en-US" sz="1000" b="0" i="0" u="none" strike="noStrike" dirty="0">
                          <a:solidFill>
                            <a:srgbClr val="000000"/>
                          </a:solidFill>
                          <a:effectLst/>
                          <a:latin typeface="Open Sauce One" panose="00000800000000000000"/>
                        </a:rPr>
                        <a:t>A134</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a:solidFill>
                            <a:srgbClr val="000000"/>
                          </a:solidFill>
                          <a:effectLst/>
                          <a:latin typeface="Open Sauce One" panose="00000800000000000000"/>
                        </a:rPr>
                        <a:t>Update the duplicate detection logic in the KP Composite API and switch to UAT environment (for Coupa &amp; OL)</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highlight>
                            <a:srgbClr val="F0C7D7"/>
                          </a:highlight>
                          <a:latin typeface="Open Sauce One" panose="00000800000000000000"/>
                        </a:rPr>
                        <a:t>Closed</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Ramesh, Jorge,</a:t>
                      </a:r>
                    </a:p>
                    <a:p>
                      <a:pPr algn="ctr" fontAlgn="ctr"/>
                      <a:r>
                        <a:rPr lang="en-US" sz="1000" b="0" i="0" u="none" strike="noStrike" dirty="0">
                          <a:solidFill>
                            <a:srgbClr val="000000"/>
                          </a:solidFill>
                          <a:effectLst/>
                          <a:latin typeface="Open Sauce One" panose="00000800000000000000"/>
                        </a:rPr>
                        <a:t> Foti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December 13, 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January 8, 2024</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kern="1200" dirty="0">
                          <a:solidFill>
                            <a:srgbClr val="000000"/>
                          </a:solidFill>
                          <a:effectLst/>
                          <a:latin typeface="Open Sauce One" panose="00000800000000000000"/>
                          <a:ea typeface="+mn-ea"/>
                          <a:cs typeface="+mn-cs"/>
                        </a:rPr>
                        <a:t>December</a:t>
                      </a:r>
                      <a:r>
                        <a:rPr lang="en-US" sz="1100" b="0" i="0" u="none" strike="noStrike" dirty="0">
                          <a:solidFill>
                            <a:srgbClr val="000000"/>
                          </a:solidFill>
                          <a:effectLst/>
                          <a:latin typeface="Lato" panose="020F0502020204030203" pitchFamily="34" charset="0"/>
                        </a:rPr>
                        <a:t> </a:t>
                      </a:r>
                      <a:r>
                        <a:rPr lang="en-US" sz="1000" b="0" i="0" u="none" strike="noStrike" kern="1200" dirty="0">
                          <a:solidFill>
                            <a:srgbClr val="000000"/>
                          </a:solidFill>
                          <a:effectLst/>
                          <a:latin typeface="Open Sauce One" panose="00000800000000000000"/>
                          <a:ea typeface="+mn-ea"/>
                          <a:cs typeface="+mn-cs"/>
                        </a:rPr>
                        <a:t>20, 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a:solidFill>
                            <a:srgbClr val="000000"/>
                          </a:solidFill>
                          <a:effectLst/>
                          <a:highlight>
                            <a:srgbClr val="F0C7D7"/>
                          </a:highlight>
                          <a:latin typeface="Open Sauce One" panose="00000800000000000000"/>
                        </a:rPr>
                        <a:t>Invoice date was removed from the external validation. Fotis confirmed - endpoint was successfully switched to UAT environment.</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9460585"/>
                  </a:ext>
                </a:extLst>
              </a:tr>
              <a:tr h="485760">
                <a:tc>
                  <a:txBody>
                    <a:bodyPr/>
                    <a:lstStyle/>
                    <a:p>
                      <a:pPr algn="l" rtl="0" fontAlgn="ctr"/>
                      <a:r>
                        <a:rPr lang="en-US" sz="1000" b="0" i="0" u="none" strike="noStrike" dirty="0">
                          <a:solidFill>
                            <a:srgbClr val="000000"/>
                          </a:solidFill>
                          <a:effectLst/>
                          <a:latin typeface="Open Sauce One" panose="00000800000000000000"/>
                        </a:rPr>
                        <a:t>A135</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a:solidFill>
                            <a:srgbClr val="000000"/>
                          </a:solidFill>
                          <a:effectLst/>
                          <a:highlight>
                            <a:srgbClr val="FFFF00"/>
                          </a:highlight>
                          <a:latin typeface="Open Sauce One" panose="00000800000000000000"/>
                        </a:rPr>
                        <a:t>Confirm with the Team – go live date 14</a:t>
                      </a:r>
                      <a:r>
                        <a:rPr lang="en-US" sz="1000" b="0" i="0" u="none" strike="noStrike" baseline="30000" dirty="0">
                          <a:solidFill>
                            <a:srgbClr val="000000"/>
                          </a:solidFill>
                          <a:effectLst/>
                          <a:highlight>
                            <a:srgbClr val="FFFF00"/>
                          </a:highlight>
                          <a:latin typeface="Open Sauce One" panose="00000800000000000000"/>
                        </a:rPr>
                        <a:t>th</a:t>
                      </a:r>
                      <a:r>
                        <a:rPr lang="en-US" sz="1000" b="0" i="0" u="none" strike="noStrike" dirty="0">
                          <a:solidFill>
                            <a:srgbClr val="000000"/>
                          </a:solidFill>
                          <a:effectLst/>
                          <a:highlight>
                            <a:srgbClr val="FFFF00"/>
                          </a:highlight>
                          <a:latin typeface="Open Sauce One" panose="00000800000000000000"/>
                        </a:rPr>
                        <a:t> Feb</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highlight>
                            <a:srgbClr val="FFFF00"/>
                          </a:highlight>
                          <a:latin typeface="Open Sauce One" panose="00000800000000000000"/>
                        </a:rPr>
                        <a:t>Open</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0" i="0" u="none" strike="noStrike" dirty="0">
                          <a:solidFill>
                            <a:srgbClr val="000000"/>
                          </a:solidFill>
                          <a:effectLst/>
                          <a:latin typeface="Open Sauce One" panose="00000800000000000000"/>
                        </a:rPr>
                        <a:t>Leticia, Jorge</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Open Sauce One" panose="00000800000000000000"/>
                        </a:rPr>
                        <a:t>December 20, 2023</a:t>
                      </a:r>
                    </a:p>
                    <a:p>
                      <a:pPr algn="ctr" fontAlgn="ctr"/>
                      <a:endParaRPr lang="en-US" sz="1000" b="0" i="0" u="none" strike="noStrike" dirty="0">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Open Sauce One" panose="00000800000000000000"/>
                        </a:rPr>
                        <a:t>January 3, 2024</a:t>
                      </a:r>
                    </a:p>
                    <a:p>
                      <a:pPr algn="ctr" fontAlgn="ctr"/>
                      <a:endParaRPr lang="en-US" sz="1000" b="0" i="0" u="none" strike="noStrike" dirty="0">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000" b="0" i="0" u="none" strike="noStrike" kern="1200" dirty="0">
                        <a:solidFill>
                          <a:srgbClr val="000000"/>
                        </a:solidFill>
                        <a:effectLst/>
                        <a:latin typeface="Open Sauce One" panose="00000800000000000000"/>
                        <a:ea typeface="+mn-ea"/>
                        <a:cs typeface="+mn-cs"/>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a:solidFill>
                            <a:srgbClr val="000000"/>
                          </a:solidFill>
                          <a:effectLst/>
                          <a:highlight>
                            <a:srgbClr val="FFFF00"/>
                          </a:highlight>
                          <a:latin typeface="Open Sauce One" panose="00000800000000000000"/>
                        </a:rPr>
                        <a:t>Make sure that everyone is on the same page</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6088246"/>
                  </a:ext>
                </a:extLst>
              </a:tr>
            </a:tbl>
          </a:graphicData>
        </a:graphic>
      </p:graphicFrame>
    </p:spTree>
    <p:extLst>
      <p:ext uri="{BB962C8B-B14F-4D97-AF65-F5344CB8AC3E}">
        <p14:creationId xmlns:p14="http://schemas.microsoft.com/office/powerpoint/2010/main" val="2876341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4C4EE4C-8F6F-F414-CE60-425966B9B149}"/>
              </a:ext>
            </a:extLst>
          </p:cNvPr>
          <p:cNvGraphicFramePr>
            <a:graphicFrameLocks noChangeAspect="1"/>
          </p:cNvGraphicFramePr>
          <p:nvPr>
            <p:custDataLst>
              <p:tags r:id="rId1"/>
            </p:custDataLst>
            <p:extLst>
              <p:ext uri="{D42A27DB-BD31-4B8C-83A1-F6EECF244321}">
                <p14:modId xmlns:p14="http://schemas.microsoft.com/office/powerpoint/2010/main" val="2429499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F4C4EE4C-8F6F-F414-CE60-425966B9B1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138DE5D-4EE1-0D29-076F-FBAE4F5235A2}"/>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323915CB-38E5-0903-E6B0-4085B3CC2387}"/>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1B7AB430-5249-901B-9F05-4EB65A8FF21E}"/>
              </a:ext>
            </a:extLst>
          </p:cNvPr>
          <p:cNvSpPr>
            <a:spLocks noGrp="1"/>
          </p:cNvSpPr>
          <p:nvPr>
            <p:ph type="sldNum" sz="quarter" idx="12"/>
          </p:nvPr>
        </p:nvSpPr>
        <p:spPr/>
        <p:txBody>
          <a:bodyPr/>
          <a:lstStyle/>
          <a:p>
            <a:fld id="{61F2D668-955E-AB45-9B4E-D4D3490B1261}" type="slidenum">
              <a:rPr lang="en-US" smtClean="0"/>
              <a:t>30</a:t>
            </a:fld>
            <a:endParaRPr lang="en-US"/>
          </a:p>
        </p:txBody>
      </p:sp>
    </p:spTree>
    <p:extLst>
      <p:ext uri="{BB962C8B-B14F-4D97-AF65-F5344CB8AC3E}">
        <p14:creationId xmlns:p14="http://schemas.microsoft.com/office/powerpoint/2010/main" val="8729712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2B0F087-023B-BD45-98DD-863434BFD251}"/>
              </a:ext>
            </a:extLst>
          </p:cNvPr>
          <p:cNvGraphicFramePr>
            <a:graphicFrameLocks noChangeAspect="1"/>
          </p:cNvGraphicFramePr>
          <p:nvPr>
            <p:custDataLst>
              <p:tags r:id="rId1"/>
            </p:custDataLst>
            <p:extLst>
              <p:ext uri="{D42A27DB-BD31-4B8C-83A1-F6EECF244321}">
                <p14:modId xmlns:p14="http://schemas.microsoft.com/office/powerpoint/2010/main" val="2378590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E2B0F087-023B-BD45-98DD-863434BFD2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B085D6F4-83E4-5A26-860D-D2C6F6F9C588}"/>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B5443984-1C91-0029-63A8-2BA3A964FD5C}"/>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A302225D-05F8-F9D2-EA48-78EE025BC650}"/>
              </a:ext>
            </a:extLst>
          </p:cNvPr>
          <p:cNvSpPr>
            <a:spLocks noGrp="1"/>
          </p:cNvSpPr>
          <p:nvPr>
            <p:ph type="sldNum" sz="quarter" idx="12"/>
          </p:nvPr>
        </p:nvSpPr>
        <p:spPr/>
        <p:txBody>
          <a:bodyPr/>
          <a:lstStyle/>
          <a:p>
            <a:fld id="{61F2D668-955E-AB45-9B4E-D4D3490B1261}" type="slidenum">
              <a:rPr lang="en-US" smtClean="0"/>
              <a:t>31</a:t>
            </a:fld>
            <a:endParaRPr lang="en-US"/>
          </a:p>
        </p:txBody>
      </p:sp>
    </p:spTree>
    <p:extLst>
      <p:ext uri="{BB962C8B-B14F-4D97-AF65-F5344CB8AC3E}">
        <p14:creationId xmlns:p14="http://schemas.microsoft.com/office/powerpoint/2010/main" val="6282979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6A737BB-9A59-8883-1142-D484BD1B23C5}"/>
              </a:ext>
            </a:extLst>
          </p:cNvPr>
          <p:cNvGraphicFramePr>
            <a:graphicFrameLocks noChangeAspect="1"/>
          </p:cNvGraphicFramePr>
          <p:nvPr>
            <p:custDataLst>
              <p:tags r:id="rId1"/>
            </p:custDataLst>
            <p:extLst>
              <p:ext uri="{D42A27DB-BD31-4B8C-83A1-F6EECF244321}">
                <p14:modId xmlns:p14="http://schemas.microsoft.com/office/powerpoint/2010/main" val="2970706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B6A737BB-9A59-8883-1142-D484BD1B23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CA842E3D-9A35-D4D5-3EF3-AD8A53F62B96}"/>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27668420-DDB6-A8EF-D102-1DE7D1EEFEA1}"/>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A55EF829-B67B-6C67-BEC6-95EE89A5CAE9}"/>
              </a:ext>
            </a:extLst>
          </p:cNvPr>
          <p:cNvSpPr>
            <a:spLocks noGrp="1"/>
          </p:cNvSpPr>
          <p:nvPr>
            <p:ph type="sldNum" sz="quarter" idx="12"/>
          </p:nvPr>
        </p:nvSpPr>
        <p:spPr/>
        <p:txBody>
          <a:bodyPr/>
          <a:lstStyle/>
          <a:p>
            <a:fld id="{61F2D668-955E-AB45-9B4E-D4D3490B1261}" type="slidenum">
              <a:rPr lang="en-US" smtClean="0"/>
              <a:t>32</a:t>
            </a:fld>
            <a:endParaRPr lang="en-US"/>
          </a:p>
        </p:txBody>
      </p:sp>
    </p:spTree>
    <p:extLst>
      <p:ext uri="{BB962C8B-B14F-4D97-AF65-F5344CB8AC3E}">
        <p14:creationId xmlns:p14="http://schemas.microsoft.com/office/powerpoint/2010/main" val="31138236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4F5961-5284-1D84-9D86-32EBDEF5C30D}"/>
              </a:ext>
            </a:extLst>
          </p:cNvPr>
          <p:cNvGraphicFramePr>
            <a:graphicFrameLocks noChangeAspect="1"/>
          </p:cNvGraphicFramePr>
          <p:nvPr>
            <p:custDataLst>
              <p:tags r:id="rId1"/>
            </p:custDataLst>
            <p:extLst>
              <p:ext uri="{D42A27DB-BD31-4B8C-83A1-F6EECF244321}">
                <p14:modId xmlns:p14="http://schemas.microsoft.com/office/powerpoint/2010/main" val="303211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ED4F5961-5284-1D84-9D86-32EBDEF5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7718F76A-05A5-7B95-C891-222C82B50183}"/>
              </a:ext>
            </a:extLst>
          </p:cNvPr>
          <p:cNvSpPr>
            <a:spLocks noGrp="1"/>
          </p:cNvSpPr>
          <p:nvPr>
            <p:ph type="title"/>
          </p:nvPr>
        </p:nvSpPr>
        <p:spPr/>
        <p:txBody>
          <a:bodyPr/>
          <a:lstStyle/>
          <a:p>
            <a:endParaRPr lang="en-US"/>
          </a:p>
        </p:txBody>
      </p:sp>
      <p:sp>
        <p:nvSpPr>
          <p:cNvPr id="3" name="Tartalom helye 2">
            <a:extLst>
              <a:ext uri="{FF2B5EF4-FFF2-40B4-BE49-F238E27FC236}">
                <a16:creationId xmlns:a16="http://schemas.microsoft.com/office/drawing/2014/main" id="{426C0212-629F-B5A0-7F9F-56077B7B75F8}"/>
              </a:ext>
            </a:extLst>
          </p:cNvPr>
          <p:cNvSpPr>
            <a:spLocks noGrp="1"/>
          </p:cNvSpPr>
          <p:nvPr>
            <p:ph idx="1"/>
          </p:nvPr>
        </p:nvSpPr>
        <p:spPr/>
        <p:txBody>
          <a:bodyPr/>
          <a:lstStyle/>
          <a:p>
            <a:endParaRPr lang="en-US"/>
          </a:p>
        </p:txBody>
      </p:sp>
      <p:sp>
        <p:nvSpPr>
          <p:cNvPr id="4" name="Dia számának helye 3">
            <a:extLst>
              <a:ext uri="{FF2B5EF4-FFF2-40B4-BE49-F238E27FC236}">
                <a16:creationId xmlns:a16="http://schemas.microsoft.com/office/drawing/2014/main" id="{F745F6B3-9825-0248-40C6-F8EE535BF853}"/>
              </a:ext>
            </a:extLst>
          </p:cNvPr>
          <p:cNvSpPr>
            <a:spLocks noGrp="1"/>
          </p:cNvSpPr>
          <p:nvPr>
            <p:ph type="sldNum" sz="quarter" idx="12"/>
          </p:nvPr>
        </p:nvSpPr>
        <p:spPr/>
        <p:txBody>
          <a:bodyPr/>
          <a:lstStyle/>
          <a:p>
            <a:fld id="{61F2D668-955E-AB45-9B4E-D4D3490B1261}" type="slidenum">
              <a:rPr lang="en-US" smtClean="0"/>
              <a:t>33</a:t>
            </a:fld>
            <a:endParaRPr lang="en-US"/>
          </a:p>
        </p:txBody>
      </p:sp>
    </p:spTree>
    <p:extLst>
      <p:ext uri="{BB962C8B-B14F-4D97-AF65-F5344CB8AC3E}">
        <p14:creationId xmlns:p14="http://schemas.microsoft.com/office/powerpoint/2010/main" val="17454361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C85AC41-304A-B744-B115-84F5311C6FF2}"/>
              </a:ext>
            </a:extLst>
          </p:cNvPr>
          <p:cNvGraphicFramePr>
            <a:graphicFrameLocks noChangeAspect="1"/>
          </p:cNvGraphicFramePr>
          <p:nvPr>
            <p:custDataLst>
              <p:tags r:id="rId1"/>
            </p:custDataLst>
            <p:extLst>
              <p:ext uri="{D42A27DB-BD31-4B8C-83A1-F6EECF244321}">
                <p14:modId xmlns:p14="http://schemas.microsoft.com/office/powerpoint/2010/main" val="3946056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1C85AC41-304A-B744-B115-84F5311C6F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C3EAD65B-7A18-BE06-66D5-27317D94D31F}"/>
              </a:ext>
            </a:extLst>
          </p:cNvPr>
          <p:cNvSpPr>
            <a:spLocks noGrp="1"/>
          </p:cNvSpPr>
          <p:nvPr>
            <p:ph type="title"/>
          </p:nvPr>
        </p:nvSpPr>
        <p:spPr/>
        <p:txBody>
          <a:bodyPr/>
          <a:lstStyle/>
          <a:p>
            <a:endParaRPr lang="en-US"/>
          </a:p>
        </p:txBody>
      </p:sp>
      <p:sp>
        <p:nvSpPr>
          <p:cNvPr id="3" name="Dia számának helye 2">
            <a:extLst>
              <a:ext uri="{FF2B5EF4-FFF2-40B4-BE49-F238E27FC236}">
                <a16:creationId xmlns:a16="http://schemas.microsoft.com/office/drawing/2014/main" id="{9FA91CF7-1D3A-8D10-EB41-551A8A245CA3}"/>
              </a:ext>
            </a:extLst>
          </p:cNvPr>
          <p:cNvSpPr>
            <a:spLocks noGrp="1"/>
          </p:cNvSpPr>
          <p:nvPr>
            <p:ph type="sldNum" sz="quarter" idx="12"/>
          </p:nvPr>
        </p:nvSpPr>
        <p:spPr/>
        <p:txBody>
          <a:bodyPr/>
          <a:lstStyle/>
          <a:p>
            <a:fld id="{61F2D668-955E-AB45-9B4E-D4D3490B1261}" type="slidenum">
              <a:rPr lang="en-US" smtClean="0"/>
              <a:t>34</a:t>
            </a:fld>
            <a:endParaRPr lang="en-US"/>
          </a:p>
        </p:txBody>
      </p:sp>
    </p:spTree>
    <p:extLst>
      <p:ext uri="{BB962C8B-B14F-4D97-AF65-F5344CB8AC3E}">
        <p14:creationId xmlns:p14="http://schemas.microsoft.com/office/powerpoint/2010/main" val="18633754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ia számának helye 1">
            <a:extLst>
              <a:ext uri="{FF2B5EF4-FFF2-40B4-BE49-F238E27FC236}">
                <a16:creationId xmlns:a16="http://schemas.microsoft.com/office/drawing/2014/main" id="{DEB2DC44-C496-E43C-3E87-F2D38EE04FD5}"/>
              </a:ext>
            </a:extLst>
          </p:cNvPr>
          <p:cNvSpPr>
            <a:spLocks noGrp="1"/>
          </p:cNvSpPr>
          <p:nvPr>
            <p:ph type="sldNum" sz="quarter" idx="12"/>
          </p:nvPr>
        </p:nvSpPr>
        <p:spPr/>
        <p:txBody>
          <a:bodyPr/>
          <a:lstStyle/>
          <a:p>
            <a:fld id="{61F2D668-955E-AB45-9B4E-D4D3490B1261}" type="slidenum">
              <a:rPr lang="en-US" smtClean="0"/>
              <a:t>35</a:t>
            </a:fld>
            <a:endParaRPr lang="en-US"/>
          </a:p>
        </p:txBody>
      </p:sp>
    </p:spTree>
    <p:extLst>
      <p:ext uri="{BB962C8B-B14F-4D97-AF65-F5344CB8AC3E}">
        <p14:creationId xmlns:p14="http://schemas.microsoft.com/office/powerpoint/2010/main" val="20438019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D57E2B4-14AA-2B43-97EB-0306E94FA6D1}"/>
              </a:ext>
            </a:extLst>
          </p:cNvPr>
          <p:cNvGraphicFramePr>
            <a:graphicFrameLocks noChangeAspect="1"/>
          </p:cNvGraphicFramePr>
          <p:nvPr>
            <p:custDataLst>
              <p:tags r:id="rId1"/>
            </p:custDataLst>
            <p:extLst>
              <p:ext uri="{D42A27DB-BD31-4B8C-83A1-F6EECF244321}">
                <p14:modId xmlns:p14="http://schemas.microsoft.com/office/powerpoint/2010/main" val="1808646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2D57E2B4-14AA-2B43-97EB-0306E94FA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Colors</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36</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esources</a:t>
            </a:r>
          </a:p>
        </p:txBody>
      </p:sp>
      <p:sp>
        <p:nvSpPr>
          <p:cNvPr id="6" name="Lekerekített téglalap 5">
            <a:extLst>
              <a:ext uri="{FF2B5EF4-FFF2-40B4-BE49-F238E27FC236}">
                <a16:creationId xmlns:a16="http://schemas.microsoft.com/office/drawing/2014/main" id="{2DF440E6-D298-E637-A70E-9CC7EACCE91D}"/>
              </a:ext>
            </a:extLst>
          </p:cNvPr>
          <p:cNvSpPr/>
          <p:nvPr/>
        </p:nvSpPr>
        <p:spPr>
          <a:xfrm>
            <a:off x="4347808" y="3073633"/>
            <a:ext cx="644793" cy="644793"/>
          </a:xfrm>
          <a:prstGeom prst="roundRect">
            <a:avLst>
              <a:gd name="adj" fmla="val 15778"/>
            </a:avLst>
          </a:prstGeom>
          <a:solidFill>
            <a:srgbClr val="AEE7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3" name="Szövegdoboz 2">
            <a:extLst>
              <a:ext uri="{FF2B5EF4-FFF2-40B4-BE49-F238E27FC236}">
                <a16:creationId xmlns:a16="http://schemas.microsoft.com/office/drawing/2014/main" id="{628AA331-6269-691B-5414-42D75EDA3FE1}"/>
              </a:ext>
            </a:extLst>
          </p:cNvPr>
          <p:cNvSpPr txBox="1"/>
          <p:nvPr/>
        </p:nvSpPr>
        <p:spPr>
          <a:xfrm>
            <a:off x="401451" y="2096445"/>
            <a:ext cx="3027550" cy="644792"/>
          </a:xfrm>
          <a:prstGeom prst="rect">
            <a:avLst/>
          </a:prstGeom>
          <a:noFill/>
        </p:spPr>
        <p:txBody>
          <a:bodyPr wrap="square" lIns="0" tIns="0" rIns="0" bIns="0">
            <a:spAutoFit/>
          </a:bodyPr>
          <a:lstStyle/>
          <a:p>
            <a:pPr>
              <a:lnSpc>
                <a:spcPct val="120000"/>
              </a:lnSpc>
            </a:pPr>
            <a:r>
              <a:rPr lang="en-GB" sz="1200">
                <a:solidFill>
                  <a:schemeClr val="bg1">
                    <a:lumMod val="50000"/>
                  </a:schemeClr>
                </a:solidFill>
                <a:latin typeface="Open Sauce One" pitchFamily="2" charset="0"/>
              </a:rPr>
              <a:t>The basic brand </a:t>
            </a:r>
            <a:r>
              <a:rPr lang="en-GB" sz="1200" err="1">
                <a:solidFill>
                  <a:schemeClr val="bg1">
                    <a:lumMod val="50000"/>
                  </a:schemeClr>
                </a:solidFill>
                <a:latin typeface="Open Sauce One" pitchFamily="2" charset="0"/>
              </a:rPr>
              <a:t>colors</a:t>
            </a:r>
            <a:r>
              <a:rPr lang="en-GB" sz="1200">
                <a:solidFill>
                  <a:schemeClr val="bg1">
                    <a:lumMod val="50000"/>
                  </a:schemeClr>
                </a:solidFill>
                <a:latin typeface="Open Sauce One" pitchFamily="2" charset="0"/>
              </a:rPr>
              <a:t> are pre-set in this presentation and you can find them in the </a:t>
            </a:r>
            <a:r>
              <a:rPr lang="en-GB" sz="1200" err="1">
                <a:solidFill>
                  <a:schemeClr val="bg1">
                    <a:lumMod val="50000"/>
                  </a:schemeClr>
                </a:solidFill>
                <a:latin typeface="Open Sauce One" pitchFamily="2" charset="0"/>
              </a:rPr>
              <a:t>color</a:t>
            </a:r>
            <a:r>
              <a:rPr lang="en-GB" sz="1200">
                <a:solidFill>
                  <a:schemeClr val="bg1">
                    <a:lumMod val="50000"/>
                  </a:schemeClr>
                </a:solidFill>
                <a:latin typeface="Open Sauce One" pitchFamily="2" charset="0"/>
              </a:rPr>
              <a:t> toolbar </a:t>
            </a:r>
            <a:endParaRPr lang="en-US" sz="1200">
              <a:solidFill>
                <a:schemeClr val="bg1">
                  <a:lumMod val="50000"/>
                </a:schemeClr>
              </a:solidFill>
              <a:latin typeface="Open Sauce One" pitchFamily="2" charset="0"/>
            </a:endParaRPr>
          </a:p>
        </p:txBody>
      </p:sp>
      <p:pic>
        <p:nvPicPr>
          <p:cNvPr id="7" name="Kép 6">
            <a:extLst>
              <a:ext uri="{FF2B5EF4-FFF2-40B4-BE49-F238E27FC236}">
                <a16:creationId xmlns:a16="http://schemas.microsoft.com/office/drawing/2014/main" id="{057F1411-8FDA-229A-86BE-1F50BF7F7480}"/>
              </a:ext>
            </a:extLst>
          </p:cNvPr>
          <p:cNvPicPr>
            <a:picLocks noChangeAspect="1"/>
          </p:cNvPicPr>
          <p:nvPr/>
        </p:nvPicPr>
        <p:blipFill>
          <a:blip r:embed="rId5"/>
          <a:stretch>
            <a:fillRect/>
          </a:stretch>
        </p:blipFill>
        <p:spPr>
          <a:xfrm>
            <a:off x="407987" y="3073633"/>
            <a:ext cx="2667269" cy="2653966"/>
          </a:xfrm>
          <a:prstGeom prst="rect">
            <a:avLst/>
          </a:prstGeom>
        </p:spPr>
      </p:pic>
      <p:sp>
        <p:nvSpPr>
          <p:cNvPr id="10" name="Téglalap 9">
            <a:extLst>
              <a:ext uri="{FF2B5EF4-FFF2-40B4-BE49-F238E27FC236}">
                <a16:creationId xmlns:a16="http://schemas.microsoft.com/office/drawing/2014/main" id="{9EB2CDD5-DE55-4211-DD8B-1B32CA264215}"/>
              </a:ext>
            </a:extLst>
          </p:cNvPr>
          <p:cNvSpPr/>
          <p:nvPr/>
        </p:nvSpPr>
        <p:spPr>
          <a:xfrm>
            <a:off x="377387" y="4149226"/>
            <a:ext cx="2522224" cy="518507"/>
          </a:xfrm>
          <a:prstGeom prst="rect">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12" name="Szövegdoboz 11">
            <a:extLst>
              <a:ext uri="{FF2B5EF4-FFF2-40B4-BE49-F238E27FC236}">
                <a16:creationId xmlns:a16="http://schemas.microsoft.com/office/drawing/2014/main" id="{2592C77E-21CB-CD7E-88B2-EEF656AF6784}"/>
              </a:ext>
            </a:extLst>
          </p:cNvPr>
          <p:cNvSpPr txBox="1"/>
          <p:nvPr/>
        </p:nvSpPr>
        <p:spPr>
          <a:xfrm>
            <a:off x="407987" y="1765864"/>
            <a:ext cx="3027550" cy="201530"/>
          </a:xfrm>
          <a:prstGeom prst="rect">
            <a:avLst/>
          </a:prstGeom>
          <a:noFill/>
        </p:spPr>
        <p:txBody>
          <a:bodyPr wrap="square" lIns="0" tIns="0" rIns="0" bIns="0">
            <a:spAutoFit/>
          </a:bodyPr>
          <a:lstStyle/>
          <a:p>
            <a:pPr>
              <a:lnSpc>
                <a:spcPct val="120000"/>
              </a:lnSpc>
            </a:pPr>
            <a:r>
              <a:rPr lang="en-GB" sz="1200" b="1">
                <a:latin typeface="Open Sauce One" pitchFamily="2" charset="0"/>
              </a:rPr>
              <a:t>Brand </a:t>
            </a:r>
            <a:r>
              <a:rPr lang="en-GB" sz="1200" b="1" err="1">
                <a:latin typeface="Open Sauce One" pitchFamily="2" charset="0"/>
              </a:rPr>
              <a:t>Colors</a:t>
            </a:r>
            <a:endParaRPr lang="en-US" sz="1200" b="1">
              <a:latin typeface="Open Sauce One" pitchFamily="2" charset="0"/>
            </a:endParaRPr>
          </a:p>
        </p:txBody>
      </p:sp>
      <p:sp>
        <p:nvSpPr>
          <p:cNvPr id="13" name="Szövegdoboz 12">
            <a:extLst>
              <a:ext uri="{FF2B5EF4-FFF2-40B4-BE49-F238E27FC236}">
                <a16:creationId xmlns:a16="http://schemas.microsoft.com/office/drawing/2014/main" id="{AE9D6A6C-EFA7-1846-2F60-C483735B1A88}"/>
              </a:ext>
            </a:extLst>
          </p:cNvPr>
          <p:cNvSpPr txBox="1"/>
          <p:nvPr/>
        </p:nvSpPr>
        <p:spPr>
          <a:xfrm>
            <a:off x="4347808" y="2096445"/>
            <a:ext cx="6697181" cy="644792"/>
          </a:xfrm>
          <a:prstGeom prst="rect">
            <a:avLst/>
          </a:prstGeom>
          <a:noFill/>
        </p:spPr>
        <p:txBody>
          <a:bodyPr wrap="square" lIns="0" tIns="0" rIns="0" bIns="0">
            <a:spAutoFit/>
          </a:bodyPr>
          <a:lstStyle/>
          <a:p>
            <a:pPr>
              <a:lnSpc>
                <a:spcPct val="120000"/>
              </a:lnSpc>
            </a:pPr>
            <a:r>
              <a:rPr lang="en-GB" sz="1200">
                <a:solidFill>
                  <a:schemeClr val="bg1">
                    <a:lumMod val="50000"/>
                  </a:schemeClr>
                </a:solidFill>
                <a:latin typeface="Open Sauce One" pitchFamily="2" charset="0"/>
              </a:rPr>
              <a:t>These styles can be used along with the brand </a:t>
            </a:r>
            <a:r>
              <a:rPr lang="en-GB" sz="1200" err="1">
                <a:solidFill>
                  <a:schemeClr val="bg1">
                    <a:lumMod val="50000"/>
                  </a:schemeClr>
                </a:solidFill>
                <a:latin typeface="Open Sauce One" pitchFamily="2" charset="0"/>
              </a:rPr>
              <a:t>colors</a:t>
            </a:r>
            <a:r>
              <a:rPr lang="en-GB" sz="1200">
                <a:solidFill>
                  <a:schemeClr val="bg1">
                    <a:lumMod val="50000"/>
                  </a:schemeClr>
                </a:solidFill>
                <a:latin typeface="Open Sauce One" pitchFamily="2" charset="0"/>
              </a:rPr>
              <a:t> whenever a broader variety is needed. For example for charts and graphs. However, it is important that the final layout is dominated by white and the brand </a:t>
            </a:r>
            <a:r>
              <a:rPr lang="en-GB" sz="1200" err="1">
                <a:solidFill>
                  <a:schemeClr val="bg1">
                    <a:lumMod val="50000"/>
                  </a:schemeClr>
                </a:solidFill>
                <a:latin typeface="Open Sauce One" pitchFamily="2" charset="0"/>
              </a:rPr>
              <a:t>colors</a:t>
            </a:r>
            <a:r>
              <a:rPr lang="en-GB" sz="1200">
                <a:solidFill>
                  <a:schemeClr val="bg1">
                    <a:lumMod val="50000"/>
                  </a:schemeClr>
                </a:solidFill>
                <a:latin typeface="Open Sauce One" pitchFamily="2" charset="0"/>
              </a:rPr>
              <a:t> specified on the previous page.</a:t>
            </a:r>
            <a:endParaRPr lang="en-US" sz="1200">
              <a:solidFill>
                <a:schemeClr val="bg1">
                  <a:lumMod val="50000"/>
                </a:schemeClr>
              </a:solidFill>
              <a:latin typeface="Open Sauce One" pitchFamily="2" charset="0"/>
            </a:endParaRPr>
          </a:p>
        </p:txBody>
      </p:sp>
      <p:sp>
        <p:nvSpPr>
          <p:cNvPr id="14" name="Szövegdoboz 13">
            <a:extLst>
              <a:ext uri="{FF2B5EF4-FFF2-40B4-BE49-F238E27FC236}">
                <a16:creationId xmlns:a16="http://schemas.microsoft.com/office/drawing/2014/main" id="{9CD4FF0E-7865-565C-FD1F-5149C5263285}"/>
              </a:ext>
            </a:extLst>
          </p:cNvPr>
          <p:cNvSpPr txBox="1"/>
          <p:nvPr/>
        </p:nvSpPr>
        <p:spPr>
          <a:xfrm>
            <a:off x="4354345" y="1765864"/>
            <a:ext cx="3027550" cy="201530"/>
          </a:xfrm>
          <a:prstGeom prst="rect">
            <a:avLst/>
          </a:prstGeom>
          <a:noFill/>
        </p:spPr>
        <p:txBody>
          <a:bodyPr wrap="square" lIns="0" tIns="0" rIns="0" bIns="0">
            <a:spAutoFit/>
          </a:bodyPr>
          <a:lstStyle/>
          <a:p>
            <a:pPr>
              <a:lnSpc>
                <a:spcPct val="120000"/>
              </a:lnSpc>
            </a:pPr>
            <a:r>
              <a:rPr lang="en-GB" sz="1200" b="1" err="1">
                <a:latin typeface="Open Sauce One" pitchFamily="2" charset="0"/>
              </a:rPr>
              <a:t>Additonal</a:t>
            </a:r>
            <a:r>
              <a:rPr lang="en-GB" sz="1200" b="1">
                <a:latin typeface="Open Sauce One" pitchFamily="2" charset="0"/>
              </a:rPr>
              <a:t> </a:t>
            </a:r>
            <a:r>
              <a:rPr lang="en-GB" sz="1200" b="1" err="1">
                <a:latin typeface="Open Sauce One" pitchFamily="2" charset="0"/>
              </a:rPr>
              <a:t>Colors</a:t>
            </a:r>
            <a:endParaRPr lang="en-US" sz="1200" b="1">
              <a:latin typeface="Open Sauce One" pitchFamily="2" charset="0"/>
            </a:endParaRPr>
          </a:p>
        </p:txBody>
      </p:sp>
      <p:sp>
        <p:nvSpPr>
          <p:cNvPr id="16" name="Szövegdoboz 15">
            <a:extLst>
              <a:ext uri="{FF2B5EF4-FFF2-40B4-BE49-F238E27FC236}">
                <a16:creationId xmlns:a16="http://schemas.microsoft.com/office/drawing/2014/main" id="{559FA7E2-656D-A5C2-6C14-2F6BC8A51C26}"/>
              </a:ext>
            </a:extLst>
          </p:cNvPr>
          <p:cNvSpPr txBox="1"/>
          <p:nvPr/>
        </p:nvSpPr>
        <p:spPr>
          <a:xfrm>
            <a:off x="4354345" y="3835296"/>
            <a:ext cx="1083929" cy="167995"/>
          </a:xfrm>
          <a:prstGeom prst="rect">
            <a:avLst/>
          </a:prstGeom>
          <a:noFill/>
        </p:spPr>
        <p:txBody>
          <a:bodyPr wrap="square" lIns="0" tIns="0" rIns="0" bIns="0">
            <a:spAutoFit/>
          </a:bodyPr>
          <a:lstStyle/>
          <a:p>
            <a:pPr>
              <a:lnSpc>
                <a:spcPct val="120000"/>
              </a:lnSpc>
            </a:pPr>
            <a:r>
              <a:rPr lang="en-GB" sz="1000">
                <a:solidFill>
                  <a:schemeClr val="bg1">
                    <a:lumMod val="50000"/>
                  </a:schemeClr>
                </a:solidFill>
                <a:latin typeface="Open Sauce One" pitchFamily="2" charset="0"/>
              </a:rPr>
              <a:t>Hex: #AEE7D7</a:t>
            </a:r>
            <a:endParaRPr lang="en-US" sz="1000">
              <a:solidFill>
                <a:schemeClr val="bg1">
                  <a:lumMod val="50000"/>
                </a:schemeClr>
              </a:solidFill>
              <a:latin typeface="Open Sauce One" pitchFamily="2" charset="0"/>
            </a:endParaRPr>
          </a:p>
        </p:txBody>
      </p:sp>
      <p:sp>
        <p:nvSpPr>
          <p:cNvPr id="19" name="Lekerekített téglalap 18">
            <a:extLst>
              <a:ext uri="{FF2B5EF4-FFF2-40B4-BE49-F238E27FC236}">
                <a16:creationId xmlns:a16="http://schemas.microsoft.com/office/drawing/2014/main" id="{A89EB5D9-CE6A-4685-5AA2-F2D659D863E3}"/>
              </a:ext>
            </a:extLst>
          </p:cNvPr>
          <p:cNvSpPr/>
          <p:nvPr/>
        </p:nvSpPr>
        <p:spPr>
          <a:xfrm>
            <a:off x="5623155" y="3073633"/>
            <a:ext cx="644793" cy="644793"/>
          </a:xfrm>
          <a:prstGeom prst="roundRect">
            <a:avLst>
              <a:gd name="adj" fmla="val 15778"/>
            </a:avLst>
          </a:prstGeom>
          <a:solidFill>
            <a:srgbClr val="C6F5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0" name="Szövegdoboz 19">
            <a:extLst>
              <a:ext uri="{FF2B5EF4-FFF2-40B4-BE49-F238E27FC236}">
                <a16:creationId xmlns:a16="http://schemas.microsoft.com/office/drawing/2014/main" id="{90A721E3-E554-015A-68AF-15F5193A72C5}"/>
              </a:ext>
            </a:extLst>
          </p:cNvPr>
          <p:cNvSpPr txBox="1"/>
          <p:nvPr/>
        </p:nvSpPr>
        <p:spPr>
          <a:xfrm>
            <a:off x="5629692" y="3835296"/>
            <a:ext cx="1083929" cy="167995"/>
          </a:xfrm>
          <a:prstGeom prst="rect">
            <a:avLst/>
          </a:prstGeom>
          <a:noFill/>
        </p:spPr>
        <p:txBody>
          <a:bodyPr wrap="square" lIns="0" tIns="0" rIns="0" bIns="0">
            <a:spAutoFit/>
          </a:bodyPr>
          <a:lstStyle/>
          <a:p>
            <a:pPr>
              <a:lnSpc>
                <a:spcPct val="120000"/>
              </a:lnSpc>
            </a:pPr>
            <a:r>
              <a:rPr lang="en-GB" sz="1000">
                <a:solidFill>
                  <a:schemeClr val="bg1">
                    <a:lumMod val="50000"/>
                  </a:schemeClr>
                </a:solidFill>
                <a:latin typeface="Open Sauce One" pitchFamily="2" charset="0"/>
              </a:rPr>
              <a:t>Hex: #C6F5E9</a:t>
            </a:r>
            <a:endParaRPr lang="en-US" sz="1000">
              <a:solidFill>
                <a:schemeClr val="bg1">
                  <a:lumMod val="50000"/>
                </a:schemeClr>
              </a:solidFill>
              <a:latin typeface="Open Sauce One" pitchFamily="2" charset="0"/>
            </a:endParaRPr>
          </a:p>
        </p:txBody>
      </p:sp>
      <p:sp>
        <p:nvSpPr>
          <p:cNvPr id="21" name="Lekerekített téglalap 20">
            <a:extLst>
              <a:ext uri="{FF2B5EF4-FFF2-40B4-BE49-F238E27FC236}">
                <a16:creationId xmlns:a16="http://schemas.microsoft.com/office/drawing/2014/main" id="{1B3272AE-7E31-08EB-2499-8E5AF3F591D7}"/>
              </a:ext>
            </a:extLst>
          </p:cNvPr>
          <p:cNvSpPr/>
          <p:nvPr/>
        </p:nvSpPr>
        <p:spPr>
          <a:xfrm>
            <a:off x="6905039" y="3073633"/>
            <a:ext cx="644793" cy="644793"/>
          </a:xfrm>
          <a:prstGeom prst="roundRect">
            <a:avLst>
              <a:gd name="adj" fmla="val 15778"/>
            </a:avLst>
          </a:prstGeom>
          <a:solidFill>
            <a:srgbClr val="F0C7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2" name="Szövegdoboz 21">
            <a:extLst>
              <a:ext uri="{FF2B5EF4-FFF2-40B4-BE49-F238E27FC236}">
                <a16:creationId xmlns:a16="http://schemas.microsoft.com/office/drawing/2014/main" id="{F22FC16B-2E08-59A9-4782-8A5F37632295}"/>
              </a:ext>
            </a:extLst>
          </p:cNvPr>
          <p:cNvSpPr txBox="1"/>
          <p:nvPr/>
        </p:nvSpPr>
        <p:spPr>
          <a:xfrm>
            <a:off x="6911576" y="3835296"/>
            <a:ext cx="1083929" cy="167995"/>
          </a:xfrm>
          <a:prstGeom prst="rect">
            <a:avLst/>
          </a:prstGeom>
          <a:noFill/>
        </p:spPr>
        <p:txBody>
          <a:bodyPr wrap="square" lIns="0" tIns="0" rIns="0" bIns="0">
            <a:spAutoFit/>
          </a:bodyPr>
          <a:lstStyle/>
          <a:p>
            <a:pPr>
              <a:lnSpc>
                <a:spcPct val="120000"/>
              </a:lnSpc>
            </a:pPr>
            <a:r>
              <a:rPr lang="en-GB" sz="1000">
                <a:solidFill>
                  <a:schemeClr val="bg1">
                    <a:lumMod val="50000"/>
                  </a:schemeClr>
                </a:solidFill>
                <a:latin typeface="Open Sauce One" pitchFamily="2" charset="0"/>
              </a:rPr>
              <a:t>Hex: #F0C7D7</a:t>
            </a:r>
            <a:endParaRPr lang="en-US" sz="1000">
              <a:solidFill>
                <a:schemeClr val="bg1">
                  <a:lumMod val="50000"/>
                </a:schemeClr>
              </a:solidFill>
              <a:latin typeface="Open Sauce One" pitchFamily="2" charset="0"/>
            </a:endParaRPr>
          </a:p>
        </p:txBody>
      </p:sp>
      <p:sp>
        <p:nvSpPr>
          <p:cNvPr id="25" name="Lekerekített téglalap 24">
            <a:extLst>
              <a:ext uri="{FF2B5EF4-FFF2-40B4-BE49-F238E27FC236}">
                <a16:creationId xmlns:a16="http://schemas.microsoft.com/office/drawing/2014/main" id="{29CA1799-5F94-FEEE-31A4-805EC38336DE}"/>
              </a:ext>
            </a:extLst>
          </p:cNvPr>
          <p:cNvSpPr/>
          <p:nvPr/>
        </p:nvSpPr>
        <p:spPr>
          <a:xfrm>
            <a:off x="8186923" y="3073633"/>
            <a:ext cx="644793" cy="644793"/>
          </a:xfrm>
          <a:prstGeom prst="roundRect">
            <a:avLst>
              <a:gd name="adj" fmla="val 15778"/>
            </a:avLst>
          </a:prstGeom>
          <a:solidFill>
            <a:srgbClr val="FBF0F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6" name="Szövegdoboz 25">
            <a:extLst>
              <a:ext uri="{FF2B5EF4-FFF2-40B4-BE49-F238E27FC236}">
                <a16:creationId xmlns:a16="http://schemas.microsoft.com/office/drawing/2014/main" id="{EF9BE0E3-99CD-748B-3C12-D1B751090C08}"/>
              </a:ext>
            </a:extLst>
          </p:cNvPr>
          <p:cNvSpPr txBox="1"/>
          <p:nvPr/>
        </p:nvSpPr>
        <p:spPr>
          <a:xfrm>
            <a:off x="8193460" y="3835296"/>
            <a:ext cx="1083929" cy="167995"/>
          </a:xfrm>
          <a:prstGeom prst="rect">
            <a:avLst/>
          </a:prstGeom>
          <a:noFill/>
        </p:spPr>
        <p:txBody>
          <a:bodyPr wrap="square" lIns="0" tIns="0" rIns="0" bIns="0">
            <a:spAutoFit/>
          </a:bodyPr>
          <a:lstStyle/>
          <a:p>
            <a:pPr>
              <a:lnSpc>
                <a:spcPct val="120000"/>
              </a:lnSpc>
            </a:pPr>
            <a:r>
              <a:rPr lang="en-GB" sz="1000">
                <a:solidFill>
                  <a:schemeClr val="bg1">
                    <a:lumMod val="50000"/>
                  </a:schemeClr>
                </a:solidFill>
                <a:latin typeface="Open Sauce One" pitchFamily="2" charset="0"/>
              </a:rPr>
              <a:t>Hex: #FBF0F4</a:t>
            </a:r>
            <a:endParaRPr lang="en-US" sz="1000">
              <a:solidFill>
                <a:schemeClr val="bg1">
                  <a:lumMod val="50000"/>
                </a:schemeClr>
              </a:solidFill>
              <a:latin typeface="Open Sauce One" pitchFamily="2" charset="0"/>
            </a:endParaRPr>
          </a:p>
        </p:txBody>
      </p:sp>
      <p:sp>
        <p:nvSpPr>
          <p:cNvPr id="27" name="Lekerekített téglalap 26">
            <a:extLst>
              <a:ext uri="{FF2B5EF4-FFF2-40B4-BE49-F238E27FC236}">
                <a16:creationId xmlns:a16="http://schemas.microsoft.com/office/drawing/2014/main" id="{F1D2014A-047E-6C93-F7F4-536B62375121}"/>
              </a:ext>
            </a:extLst>
          </p:cNvPr>
          <p:cNvSpPr/>
          <p:nvPr/>
        </p:nvSpPr>
        <p:spPr>
          <a:xfrm>
            <a:off x="4347808" y="4264759"/>
            <a:ext cx="644793" cy="644793"/>
          </a:xfrm>
          <a:prstGeom prst="roundRect">
            <a:avLst>
              <a:gd name="adj" fmla="val 15778"/>
            </a:avLst>
          </a:prstGeom>
          <a:solidFill>
            <a:srgbClr val="CDC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8" name="Szövegdoboz 27">
            <a:extLst>
              <a:ext uri="{FF2B5EF4-FFF2-40B4-BE49-F238E27FC236}">
                <a16:creationId xmlns:a16="http://schemas.microsoft.com/office/drawing/2014/main" id="{1ABD4686-458B-FB51-59DC-E9B350D66E60}"/>
              </a:ext>
            </a:extLst>
          </p:cNvPr>
          <p:cNvSpPr txBox="1"/>
          <p:nvPr/>
        </p:nvSpPr>
        <p:spPr>
          <a:xfrm>
            <a:off x="4354345" y="5026422"/>
            <a:ext cx="1083929" cy="167995"/>
          </a:xfrm>
          <a:prstGeom prst="rect">
            <a:avLst/>
          </a:prstGeom>
          <a:noFill/>
        </p:spPr>
        <p:txBody>
          <a:bodyPr wrap="square" lIns="0" tIns="0" rIns="0" bIns="0">
            <a:spAutoFit/>
          </a:bodyPr>
          <a:lstStyle/>
          <a:p>
            <a:pPr>
              <a:lnSpc>
                <a:spcPct val="120000"/>
              </a:lnSpc>
            </a:pPr>
            <a:r>
              <a:rPr lang="en-GB" sz="1000">
                <a:solidFill>
                  <a:schemeClr val="bg1">
                    <a:lumMod val="50000"/>
                  </a:schemeClr>
                </a:solidFill>
                <a:latin typeface="Open Sauce One" pitchFamily="2" charset="0"/>
              </a:rPr>
              <a:t>Hex: #CDC1F2</a:t>
            </a:r>
            <a:endParaRPr lang="en-US" sz="1000">
              <a:solidFill>
                <a:schemeClr val="bg1">
                  <a:lumMod val="50000"/>
                </a:schemeClr>
              </a:solidFill>
              <a:latin typeface="Open Sauce One" pitchFamily="2" charset="0"/>
            </a:endParaRPr>
          </a:p>
        </p:txBody>
      </p:sp>
      <p:sp>
        <p:nvSpPr>
          <p:cNvPr id="29" name="Lekerekített téglalap 28">
            <a:extLst>
              <a:ext uri="{FF2B5EF4-FFF2-40B4-BE49-F238E27FC236}">
                <a16:creationId xmlns:a16="http://schemas.microsoft.com/office/drawing/2014/main" id="{ED8B7276-C5EB-D213-F239-943A6162D475}"/>
              </a:ext>
            </a:extLst>
          </p:cNvPr>
          <p:cNvSpPr/>
          <p:nvPr/>
        </p:nvSpPr>
        <p:spPr>
          <a:xfrm>
            <a:off x="5623155" y="4264759"/>
            <a:ext cx="644793" cy="644793"/>
          </a:xfrm>
          <a:prstGeom prst="roundRect">
            <a:avLst>
              <a:gd name="adj" fmla="val 15778"/>
            </a:avLst>
          </a:prstGeom>
          <a:solidFill>
            <a:srgbClr val="F1EC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30" name="Szövegdoboz 29">
            <a:extLst>
              <a:ext uri="{FF2B5EF4-FFF2-40B4-BE49-F238E27FC236}">
                <a16:creationId xmlns:a16="http://schemas.microsoft.com/office/drawing/2014/main" id="{8479BC3D-654D-B32D-3D3A-5160EAC55CE0}"/>
              </a:ext>
            </a:extLst>
          </p:cNvPr>
          <p:cNvSpPr txBox="1"/>
          <p:nvPr/>
        </p:nvSpPr>
        <p:spPr>
          <a:xfrm>
            <a:off x="5629692" y="5026422"/>
            <a:ext cx="1083929" cy="167995"/>
          </a:xfrm>
          <a:prstGeom prst="rect">
            <a:avLst/>
          </a:prstGeom>
          <a:noFill/>
        </p:spPr>
        <p:txBody>
          <a:bodyPr wrap="square" lIns="0" tIns="0" rIns="0" bIns="0">
            <a:spAutoFit/>
          </a:bodyPr>
          <a:lstStyle/>
          <a:p>
            <a:pPr>
              <a:lnSpc>
                <a:spcPct val="120000"/>
              </a:lnSpc>
            </a:pPr>
            <a:r>
              <a:rPr lang="en-GB" sz="1000">
                <a:solidFill>
                  <a:schemeClr val="bg1">
                    <a:lumMod val="50000"/>
                  </a:schemeClr>
                </a:solidFill>
                <a:latin typeface="Open Sauce One" pitchFamily="2" charset="0"/>
              </a:rPr>
              <a:t>Hex: #F1ECFF</a:t>
            </a:r>
            <a:endParaRPr lang="en-US" sz="1000">
              <a:solidFill>
                <a:schemeClr val="bg1">
                  <a:lumMod val="50000"/>
                </a:schemeClr>
              </a:solidFill>
              <a:latin typeface="Open Sauce One" pitchFamily="2" charset="0"/>
            </a:endParaRPr>
          </a:p>
        </p:txBody>
      </p:sp>
      <p:sp>
        <p:nvSpPr>
          <p:cNvPr id="31" name="Lekerekített téglalap 30">
            <a:extLst>
              <a:ext uri="{FF2B5EF4-FFF2-40B4-BE49-F238E27FC236}">
                <a16:creationId xmlns:a16="http://schemas.microsoft.com/office/drawing/2014/main" id="{8D548711-BCD6-532B-75FC-281E7581F486}"/>
              </a:ext>
            </a:extLst>
          </p:cNvPr>
          <p:cNvSpPr/>
          <p:nvPr/>
        </p:nvSpPr>
        <p:spPr>
          <a:xfrm>
            <a:off x="6905039" y="4264759"/>
            <a:ext cx="644793" cy="644793"/>
          </a:xfrm>
          <a:prstGeom prst="roundRect">
            <a:avLst>
              <a:gd name="adj" fmla="val 15778"/>
            </a:avLst>
          </a:prstGeom>
          <a:solidFill>
            <a:srgbClr val="F4D0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32" name="Szövegdoboz 31">
            <a:extLst>
              <a:ext uri="{FF2B5EF4-FFF2-40B4-BE49-F238E27FC236}">
                <a16:creationId xmlns:a16="http://schemas.microsoft.com/office/drawing/2014/main" id="{DEE79E4F-31D6-833B-58A6-DD2311C7CD32}"/>
              </a:ext>
            </a:extLst>
          </p:cNvPr>
          <p:cNvSpPr txBox="1"/>
          <p:nvPr/>
        </p:nvSpPr>
        <p:spPr>
          <a:xfrm>
            <a:off x="6911576" y="5026422"/>
            <a:ext cx="1083929" cy="167995"/>
          </a:xfrm>
          <a:prstGeom prst="rect">
            <a:avLst/>
          </a:prstGeom>
          <a:noFill/>
        </p:spPr>
        <p:txBody>
          <a:bodyPr wrap="square" lIns="0" tIns="0" rIns="0" bIns="0">
            <a:spAutoFit/>
          </a:bodyPr>
          <a:lstStyle/>
          <a:p>
            <a:pPr>
              <a:lnSpc>
                <a:spcPct val="120000"/>
              </a:lnSpc>
            </a:pPr>
            <a:r>
              <a:rPr lang="en-GB" sz="1000">
                <a:solidFill>
                  <a:schemeClr val="bg1">
                    <a:lumMod val="50000"/>
                  </a:schemeClr>
                </a:solidFill>
                <a:latin typeface="Open Sauce One" pitchFamily="2" charset="0"/>
              </a:rPr>
              <a:t>Hex: #F4D0AE</a:t>
            </a:r>
            <a:endParaRPr lang="en-US" sz="1000">
              <a:solidFill>
                <a:schemeClr val="bg1">
                  <a:lumMod val="50000"/>
                </a:schemeClr>
              </a:solidFill>
              <a:latin typeface="Open Sauce One" pitchFamily="2" charset="0"/>
            </a:endParaRPr>
          </a:p>
        </p:txBody>
      </p:sp>
      <p:sp>
        <p:nvSpPr>
          <p:cNvPr id="33" name="Lekerekített téglalap 32">
            <a:extLst>
              <a:ext uri="{FF2B5EF4-FFF2-40B4-BE49-F238E27FC236}">
                <a16:creationId xmlns:a16="http://schemas.microsoft.com/office/drawing/2014/main" id="{FAFC039D-7E2F-2D6C-06C2-9D911B5C5475}"/>
              </a:ext>
            </a:extLst>
          </p:cNvPr>
          <p:cNvSpPr/>
          <p:nvPr/>
        </p:nvSpPr>
        <p:spPr>
          <a:xfrm>
            <a:off x="8186923" y="4264759"/>
            <a:ext cx="644793" cy="644793"/>
          </a:xfrm>
          <a:prstGeom prst="roundRect">
            <a:avLst>
              <a:gd name="adj" fmla="val 15778"/>
            </a:avLst>
          </a:prstGeom>
          <a:solidFill>
            <a:srgbClr val="FDE7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34" name="Szövegdoboz 33">
            <a:extLst>
              <a:ext uri="{FF2B5EF4-FFF2-40B4-BE49-F238E27FC236}">
                <a16:creationId xmlns:a16="http://schemas.microsoft.com/office/drawing/2014/main" id="{96B723CC-8283-CD53-7480-CEF18CCC7971}"/>
              </a:ext>
            </a:extLst>
          </p:cNvPr>
          <p:cNvSpPr txBox="1"/>
          <p:nvPr/>
        </p:nvSpPr>
        <p:spPr>
          <a:xfrm>
            <a:off x="8193460" y="5026422"/>
            <a:ext cx="1083929" cy="167995"/>
          </a:xfrm>
          <a:prstGeom prst="rect">
            <a:avLst/>
          </a:prstGeom>
          <a:noFill/>
        </p:spPr>
        <p:txBody>
          <a:bodyPr wrap="square" lIns="0" tIns="0" rIns="0" bIns="0">
            <a:spAutoFit/>
          </a:bodyPr>
          <a:lstStyle/>
          <a:p>
            <a:pPr>
              <a:lnSpc>
                <a:spcPct val="120000"/>
              </a:lnSpc>
            </a:pPr>
            <a:r>
              <a:rPr lang="en-GB" sz="1000">
                <a:solidFill>
                  <a:schemeClr val="bg1">
                    <a:lumMod val="50000"/>
                  </a:schemeClr>
                </a:solidFill>
                <a:latin typeface="Open Sauce One" pitchFamily="2" charset="0"/>
              </a:rPr>
              <a:t>Hex: #FDE7D2</a:t>
            </a:r>
            <a:endParaRPr lang="en-US" sz="1000">
              <a:solidFill>
                <a:schemeClr val="bg1">
                  <a:lumMod val="50000"/>
                </a:schemeClr>
              </a:solidFill>
              <a:latin typeface="Open Sauce One" pitchFamily="2" charset="0"/>
            </a:endParaRPr>
          </a:p>
        </p:txBody>
      </p:sp>
    </p:spTree>
    <p:extLst>
      <p:ext uri="{BB962C8B-B14F-4D97-AF65-F5344CB8AC3E}">
        <p14:creationId xmlns:p14="http://schemas.microsoft.com/office/powerpoint/2010/main" val="9557304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AC63DBC-F7D1-2EBB-8A2E-04D3E225CA28}"/>
              </a:ext>
            </a:extLst>
          </p:cNvPr>
          <p:cNvGraphicFramePr>
            <a:graphicFrameLocks noChangeAspect="1"/>
          </p:cNvGraphicFramePr>
          <p:nvPr>
            <p:custDataLst>
              <p:tags r:id="rId1"/>
            </p:custDataLst>
            <p:extLst>
              <p:ext uri="{D42A27DB-BD31-4B8C-83A1-F6EECF244321}">
                <p14:modId xmlns:p14="http://schemas.microsoft.com/office/powerpoint/2010/main" val="2069263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AAC63DBC-F7D1-2EBB-8A2E-04D3E225CA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Elements</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37</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esources</a:t>
            </a:r>
          </a:p>
        </p:txBody>
      </p:sp>
      <p:sp>
        <p:nvSpPr>
          <p:cNvPr id="12" name="Szövegdoboz 11">
            <a:extLst>
              <a:ext uri="{FF2B5EF4-FFF2-40B4-BE49-F238E27FC236}">
                <a16:creationId xmlns:a16="http://schemas.microsoft.com/office/drawing/2014/main" id="{2592C77E-21CB-CD7E-88B2-EEF656AF6784}"/>
              </a:ext>
            </a:extLst>
          </p:cNvPr>
          <p:cNvSpPr txBox="1"/>
          <p:nvPr/>
        </p:nvSpPr>
        <p:spPr>
          <a:xfrm>
            <a:off x="407987" y="1682741"/>
            <a:ext cx="3027550" cy="201530"/>
          </a:xfrm>
          <a:prstGeom prst="rect">
            <a:avLst/>
          </a:prstGeom>
          <a:noFill/>
        </p:spPr>
        <p:txBody>
          <a:bodyPr wrap="square" lIns="0" tIns="0" rIns="0" bIns="0">
            <a:spAutoFit/>
          </a:bodyPr>
          <a:lstStyle/>
          <a:p>
            <a:pPr>
              <a:lnSpc>
                <a:spcPct val="120000"/>
              </a:lnSpc>
            </a:pPr>
            <a:r>
              <a:rPr lang="en-GB" sz="1200" b="1">
                <a:latin typeface="Open Sauce One" pitchFamily="2" charset="0"/>
              </a:rPr>
              <a:t>Boxed text</a:t>
            </a:r>
            <a:endParaRPr lang="en-US" sz="1200" b="1">
              <a:latin typeface="Open Sauce One" pitchFamily="2" charset="0"/>
            </a:endParaRPr>
          </a:p>
        </p:txBody>
      </p:sp>
      <p:sp>
        <p:nvSpPr>
          <p:cNvPr id="14" name="Szövegdoboz 13">
            <a:extLst>
              <a:ext uri="{FF2B5EF4-FFF2-40B4-BE49-F238E27FC236}">
                <a16:creationId xmlns:a16="http://schemas.microsoft.com/office/drawing/2014/main" id="{9CD4FF0E-7865-565C-FD1F-5149C5263285}"/>
              </a:ext>
            </a:extLst>
          </p:cNvPr>
          <p:cNvSpPr txBox="1"/>
          <p:nvPr/>
        </p:nvSpPr>
        <p:spPr>
          <a:xfrm>
            <a:off x="3175670" y="1682741"/>
            <a:ext cx="3027550" cy="201530"/>
          </a:xfrm>
          <a:prstGeom prst="rect">
            <a:avLst/>
          </a:prstGeom>
          <a:noFill/>
        </p:spPr>
        <p:txBody>
          <a:bodyPr wrap="square" lIns="0" tIns="0" rIns="0" bIns="0">
            <a:spAutoFit/>
          </a:bodyPr>
          <a:lstStyle/>
          <a:p>
            <a:pPr>
              <a:lnSpc>
                <a:spcPct val="120000"/>
              </a:lnSpc>
            </a:pPr>
            <a:r>
              <a:rPr lang="en-GB" sz="1200" b="1">
                <a:latin typeface="Open Sauce One" pitchFamily="2" charset="0"/>
              </a:rPr>
              <a:t>Boxed text with icon</a:t>
            </a:r>
            <a:endParaRPr lang="en-US" sz="1200" b="1">
              <a:latin typeface="Open Sauce One" pitchFamily="2" charset="0"/>
            </a:endParaRPr>
          </a:p>
        </p:txBody>
      </p:sp>
      <p:sp>
        <p:nvSpPr>
          <p:cNvPr id="9" name="Lekerekített téglalap 8">
            <a:extLst>
              <a:ext uri="{FF2B5EF4-FFF2-40B4-BE49-F238E27FC236}">
                <a16:creationId xmlns:a16="http://schemas.microsoft.com/office/drawing/2014/main" id="{D4891B43-0B9E-717C-711B-227BCAE81373}"/>
              </a:ext>
            </a:extLst>
          </p:cNvPr>
          <p:cNvSpPr/>
          <p:nvPr/>
        </p:nvSpPr>
        <p:spPr>
          <a:xfrm>
            <a:off x="3145220" y="2413156"/>
            <a:ext cx="2537001" cy="3778373"/>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11" name="Lekerekített téglalap 10">
            <a:extLst>
              <a:ext uri="{FF2B5EF4-FFF2-40B4-BE49-F238E27FC236}">
                <a16:creationId xmlns:a16="http://schemas.microsoft.com/office/drawing/2014/main" id="{61B6DCB1-4152-A1EB-DB24-534478AEE0EE}"/>
              </a:ext>
            </a:extLst>
          </p:cNvPr>
          <p:cNvSpPr/>
          <p:nvPr/>
        </p:nvSpPr>
        <p:spPr>
          <a:xfrm>
            <a:off x="407987" y="2178861"/>
            <a:ext cx="2537001" cy="4012668"/>
          </a:xfrm>
          <a:prstGeom prst="roundRect">
            <a:avLst>
              <a:gd name="adj" fmla="val 7297"/>
            </a:avLst>
          </a:prstGeom>
          <a:solidFill>
            <a:schemeClr val="bg2"/>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17" name="Rechteck 116">
            <a:extLst>
              <a:ext uri="{FF2B5EF4-FFF2-40B4-BE49-F238E27FC236}">
                <a16:creationId xmlns:a16="http://schemas.microsoft.com/office/drawing/2014/main" id="{2E8D6115-0F54-700C-E153-7C7F63A01AED}"/>
              </a:ext>
            </a:extLst>
          </p:cNvPr>
          <p:cNvSpPr/>
          <p:nvPr/>
        </p:nvSpPr>
        <p:spPr>
          <a:xfrm>
            <a:off x="3340805" y="3548307"/>
            <a:ext cx="2145830" cy="280839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nSpc>
                <a:spcPct val="120000"/>
              </a:lnSpc>
              <a:spcAft>
                <a:spcPts val="300"/>
              </a:spcAft>
              <a:defRPr/>
            </a:pP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rPr>
              <a:t>Lorem ipsum dolor si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rPr>
              <a:t>amet</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rPr>
              <a:t>consetetu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rPr>
              <a:t>sadipscing</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rPr>
              <a:t>elit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rPr>
              <a:t>, sed diam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rPr>
              <a:t>nonumy</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rPr>
              <a:t> </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Lorem ipsum dolor si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amet</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consetetu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sadipscing</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elit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sed diam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nonumy</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Lorem ipsum dolor si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amet</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consetetu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sadipscing</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elit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sed diam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nonumy</a:t>
            </a:r>
            <a:endPar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endParaRPr>
          </a:p>
          <a:p>
            <a:pPr marL="0" marR="0" lvl="0" indent="0" algn="l" defTabSz="914400" rtl="0" eaLnBrk="1" fontAlgn="auto" latinLnBrk="0" hangingPunct="1">
              <a:lnSpc>
                <a:spcPct val="120000"/>
              </a:lnSpc>
              <a:spcBef>
                <a:spcPts val="0"/>
              </a:spcBef>
              <a:spcAft>
                <a:spcPts val="300"/>
              </a:spcAft>
              <a:buClrTx/>
              <a:buSzTx/>
              <a:buFontTx/>
              <a:buNone/>
              <a:tabLst/>
              <a:defRPr/>
            </a:pPr>
            <a:endParaRPr kumimoji="0" lang="en-US" sz="1200" b="0" i="0" u="none" strike="noStrike" kern="1200" cap="none" spc="0" normalizeH="0" baseline="0" noProof="0">
              <a:ln>
                <a:noFill/>
              </a:ln>
              <a:solidFill>
                <a:schemeClr val="bg1">
                  <a:lumMod val="50000"/>
                </a:schemeClr>
              </a:solidFill>
              <a:effectLst/>
              <a:uLnTx/>
              <a:uFillTx/>
              <a:latin typeface="Open Sauce One" pitchFamily="2" charset="0"/>
            </a:endParaRPr>
          </a:p>
          <a:p>
            <a:pPr marL="0" marR="0" lvl="0" indent="0" algn="l" defTabSz="914400" rtl="0" eaLnBrk="1" fontAlgn="auto" latinLnBrk="0" hangingPunct="1">
              <a:lnSpc>
                <a:spcPct val="120000"/>
              </a:lnSpc>
              <a:spcBef>
                <a:spcPts val="0"/>
              </a:spcBef>
              <a:spcAft>
                <a:spcPts val="300"/>
              </a:spcAft>
              <a:buClrTx/>
              <a:buSzTx/>
              <a:buFontTx/>
              <a:buNone/>
              <a:tabLst/>
              <a:defRPr/>
            </a:pPr>
            <a:endParaRPr kumimoji="0" lang="en-US" sz="1200" b="0" i="0" u="none" strike="noStrike" kern="1200" cap="none" spc="0" normalizeH="0" baseline="0" noProof="0">
              <a:ln>
                <a:noFill/>
              </a:ln>
              <a:solidFill>
                <a:schemeClr val="bg1">
                  <a:lumMod val="50000"/>
                </a:schemeClr>
              </a:solidFill>
              <a:effectLst/>
              <a:uLnTx/>
              <a:uFillTx/>
              <a:latin typeface="Open Sauce One" pitchFamily="2" charset="0"/>
            </a:endParaRPr>
          </a:p>
        </p:txBody>
      </p:sp>
      <p:sp>
        <p:nvSpPr>
          <p:cNvPr id="18" name="Rechteck 119">
            <a:extLst>
              <a:ext uri="{FF2B5EF4-FFF2-40B4-BE49-F238E27FC236}">
                <a16:creationId xmlns:a16="http://schemas.microsoft.com/office/drawing/2014/main" id="{2DFDA6F5-9B4B-6556-3B36-1C525CD615F3}"/>
              </a:ext>
            </a:extLst>
          </p:cNvPr>
          <p:cNvSpPr/>
          <p:nvPr/>
        </p:nvSpPr>
        <p:spPr>
          <a:xfrm>
            <a:off x="603572" y="2959337"/>
            <a:ext cx="2145830" cy="288534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90488" marR="0" lvl="0" indent="-90488" algn="l" defTabSz="914400" rtl="0" eaLnBrk="1" fontAlgn="auto" latinLnBrk="0" hangingPunct="1">
              <a:lnSpc>
                <a:spcPct val="120000"/>
              </a:lnSpc>
              <a:spcBef>
                <a:spcPts val="300"/>
              </a:spcBef>
              <a:spcAft>
                <a:spcPts val="300"/>
              </a:spcAft>
              <a:buClr>
                <a:schemeClr val="accent4"/>
              </a:buClr>
              <a:buSzTx/>
              <a:buFont typeface="Arial" panose="020B0604020202020204" pitchFamily="34" charset="0"/>
              <a:buChar char="•"/>
              <a:defRPr/>
            </a:pP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Lorem ipsum dolor si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amet</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consetetu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sadipscing</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elit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sed diam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nonumy</a:t>
            </a:r>
            <a:endPar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endParaRPr>
          </a:p>
          <a:p>
            <a:pPr marL="90488" indent="-90488">
              <a:lnSpc>
                <a:spcPct val="120000"/>
              </a:lnSpc>
              <a:spcBef>
                <a:spcPts val="300"/>
              </a:spcBef>
              <a:spcAft>
                <a:spcPts val="300"/>
              </a:spcAft>
              <a:buClr>
                <a:schemeClr val="accent4"/>
              </a:buClr>
              <a:buFont typeface="Arial" panose="020B0604020202020204" pitchFamily="34" charset="0"/>
              <a:buChar char="•"/>
              <a:defRPr/>
            </a:pP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Lorem ipsum dolor si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amet</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consetetu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sadipscing</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elit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sed diam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nonumy</a:t>
            </a:r>
            <a:endParaRPr kumimoji="0" lang="de-DE" sz="1200" b="0" i="0" u="none" strike="noStrike" kern="1200" cap="none" spc="0" normalizeH="0" baseline="0" noProof="0">
              <a:ln>
                <a:noFill/>
              </a:ln>
              <a:solidFill>
                <a:schemeClr val="bg1">
                  <a:lumMod val="50000"/>
                </a:schemeClr>
              </a:solidFill>
              <a:effectLst/>
              <a:uLnTx/>
              <a:uFillTx/>
              <a:latin typeface="Open Sauce One" pitchFamily="2" charset="0"/>
            </a:endParaRPr>
          </a:p>
          <a:p>
            <a:pPr marL="90488" indent="-90488">
              <a:lnSpc>
                <a:spcPct val="120000"/>
              </a:lnSpc>
              <a:spcBef>
                <a:spcPts val="300"/>
              </a:spcBef>
              <a:spcAft>
                <a:spcPts val="300"/>
              </a:spcAft>
              <a:buClr>
                <a:schemeClr val="accent4"/>
              </a:buClr>
              <a:buFont typeface="Arial" panose="020B0604020202020204" pitchFamily="34" charset="0"/>
              <a:buChar char="•"/>
              <a:defRPr/>
            </a:pP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Lorem ipsum dolor si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amet</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consetetu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sadipscing</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elitr</a:t>
            </a:r>
            <a:r>
              <a:rPr kumimoji="0" lang="en-US" sz="12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rPr>
              <a:t>, sed diam </a:t>
            </a:r>
            <a:r>
              <a:rPr kumimoji="0" lang="en-US" sz="1200" b="0" i="0" u="none" strike="noStrike" kern="1200" cap="none" spc="0" normalizeH="0" baseline="0" noProof="0" err="1">
                <a:ln>
                  <a:noFill/>
                </a:ln>
                <a:solidFill>
                  <a:schemeClr val="bg1">
                    <a:lumMod val="50000"/>
                  </a:schemeClr>
                </a:solidFill>
                <a:effectLst/>
                <a:uLnTx/>
                <a:uFillTx/>
                <a:latin typeface="Open Sauce One" pitchFamily="2" charset="0"/>
                <a:ea typeface="Lato Heavy" charset="0"/>
                <a:cs typeface="Lato Heavy" charset="0"/>
              </a:rPr>
              <a:t>nonumy</a:t>
            </a:r>
            <a:endParaRPr kumimoji="0" lang="de-DE" sz="1200" b="0" i="0" u="none" strike="noStrike" kern="1200" cap="none" spc="0" normalizeH="0" baseline="0" noProof="0">
              <a:ln>
                <a:noFill/>
              </a:ln>
              <a:solidFill>
                <a:schemeClr val="bg1">
                  <a:lumMod val="50000"/>
                </a:schemeClr>
              </a:solidFill>
              <a:effectLst/>
              <a:uLnTx/>
              <a:uFillTx/>
              <a:latin typeface="Open Sauce One" pitchFamily="2" charset="0"/>
            </a:endParaRPr>
          </a:p>
        </p:txBody>
      </p:sp>
      <p:sp>
        <p:nvSpPr>
          <p:cNvPr id="24" name="Rechteck 191">
            <a:extLst>
              <a:ext uri="{FF2B5EF4-FFF2-40B4-BE49-F238E27FC236}">
                <a16:creationId xmlns:a16="http://schemas.microsoft.com/office/drawing/2014/main" id="{BD212E31-0735-E6EB-9EE6-35082E2E985C}"/>
              </a:ext>
            </a:extLst>
          </p:cNvPr>
          <p:cNvSpPr/>
          <p:nvPr/>
        </p:nvSpPr>
        <p:spPr>
          <a:xfrm>
            <a:off x="3340805" y="2991074"/>
            <a:ext cx="2116744" cy="369332"/>
          </a:xfrm>
          <a:prstGeom prst="rect">
            <a:avLst/>
          </a:prstGeom>
          <a:effectLst/>
        </p:spPr>
        <p:txBody>
          <a:bodyPr vert="horz"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
                <a:srgbClr val="FE702E"/>
              </a:buClr>
              <a:buSzTx/>
              <a:buFontTx/>
              <a:buNone/>
              <a:tabLst/>
              <a:defRPr/>
            </a:pPr>
            <a:r>
              <a:rPr kumimoji="0" lang="de-DE" b="1" i="0" u="none" strike="noStrike" kern="1200" cap="none" spc="100" normalizeH="0" baseline="0" noProof="0" err="1">
                <a:ln>
                  <a:noFill/>
                </a:ln>
                <a:solidFill>
                  <a:schemeClr val="tx2"/>
                </a:solidFill>
                <a:effectLst/>
                <a:uLnTx/>
                <a:uFillTx/>
                <a:latin typeface="Open Sauce One" pitchFamily="2" charset="0"/>
              </a:rPr>
              <a:t>Lorem</a:t>
            </a:r>
            <a:r>
              <a:rPr kumimoji="0" lang="de-DE" b="1" i="0" u="none" strike="noStrike" kern="1200" cap="none" spc="100" normalizeH="0" baseline="0" noProof="0">
                <a:ln>
                  <a:noFill/>
                </a:ln>
                <a:solidFill>
                  <a:schemeClr val="tx2"/>
                </a:solidFill>
                <a:effectLst/>
                <a:uLnTx/>
                <a:uFillTx/>
                <a:latin typeface="Open Sauce One" pitchFamily="2" charset="0"/>
              </a:rPr>
              <a:t> </a:t>
            </a:r>
            <a:r>
              <a:rPr kumimoji="0" lang="de-DE" b="1" i="0" u="none" strike="noStrike" kern="1200" cap="none" spc="100" normalizeH="0" baseline="0" noProof="0" err="1">
                <a:ln>
                  <a:noFill/>
                </a:ln>
                <a:solidFill>
                  <a:schemeClr val="tx2"/>
                </a:solidFill>
                <a:effectLst/>
                <a:uLnTx/>
                <a:uFillTx/>
                <a:latin typeface="Open Sauce One" pitchFamily="2" charset="0"/>
              </a:rPr>
              <a:t>ipsum</a:t>
            </a:r>
            <a:endParaRPr kumimoji="0" lang="de-DE" b="1" i="0" u="none" strike="noStrike" kern="1200" cap="none" spc="100" normalizeH="0" baseline="0" noProof="0">
              <a:ln>
                <a:noFill/>
              </a:ln>
              <a:solidFill>
                <a:schemeClr val="tx2"/>
              </a:solidFill>
              <a:effectLst/>
              <a:uLnTx/>
              <a:uFillTx/>
              <a:latin typeface="Open Sauce One" pitchFamily="2" charset="0"/>
            </a:endParaRPr>
          </a:p>
        </p:txBody>
      </p:sp>
      <p:pic>
        <p:nvPicPr>
          <p:cNvPr id="37" name="Ábra 36">
            <a:extLst>
              <a:ext uri="{FF2B5EF4-FFF2-40B4-BE49-F238E27FC236}">
                <a16:creationId xmlns:a16="http://schemas.microsoft.com/office/drawing/2014/main" id="{4A688CBA-D4C5-061D-AE4C-9419C12A2C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86170" y="2105433"/>
            <a:ext cx="651791" cy="651791"/>
          </a:xfrm>
          <a:prstGeom prst="rect">
            <a:avLst/>
          </a:prstGeom>
        </p:spPr>
      </p:pic>
      <p:sp>
        <p:nvSpPr>
          <p:cNvPr id="38" name="Rechteck 191">
            <a:extLst>
              <a:ext uri="{FF2B5EF4-FFF2-40B4-BE49-F238E27FC236}">
                <a16:creationId xmlns:a16="http://schemas.microsoft.com/office/drawing/2014/main" id="{58693136-510D-9D4C-A24C-6B6D5C332494}"/>
              </a:ext>
            </a:extLst>
          </p:cNvPr>
          <p:cNvSpPr/>
          <p:nvPr/>
        </p:nvSpPr>
        <p:spPr>
          <a:xfrm>
            <a:off x="647481" y="2410555"/>
            <a:ext cx="2116744" cy="369332"/>
          </a:xfrm>
          <a:prstGeom prst="rect">
            <a:avLst/>
          </a:prstGeom>
          <a:effectLst/>
        </p:spPr>
        <p:txBody>
          <a:bodyPr vert="horz"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
                <a:srgbClr val="FE702E"/>
              </a:buClr>
              <a:buSzTx/>
              <a:buFontTx/>
              <a:buNone/>
              <a:tabLst/>
              <a:defRPr/>
            </a:pPr>
            <a:r>
              <a:rPr kumimoji="0" lang="de-DE" b="1" i="0" u="none" strike="noStrike" kern="1200" cap="none" spc="100" normalizeH="0" baseline="0" noProof="0" err="1">
                <a:ln>
                  <a:noFill/>
                </a:ln>
                <a:solidFill>
                  <a:schemeClr val="tx2"/>
                </a:solidFill>
                <a:effectLst/>
                <a:uLnTx/>
                <a:uFillTx/>
                <a:latin typeface="Open Sauce One" pitchFamily="2" charset="0"/>
              </a:rPr>
              <a:t>Lorem</a:t>
            </a:r>
            <a:r>
              <a:rPr kumimoji="0" lang="de-DE" b="1" i="0" u="none" strike="noStrike" kern="1200" cap="none" spc="100" normalizeH="0" baseline="0" noProof="0">
                <a:ln>
                  <a:noFill/>
                </a:ln>
                <a:solidFill>
                  <a:schemeClr val="tx2"/>
                </a:solidFill>
                <a:effectLst/>
                <a:uLnTx/>
                <a:uFillTx/>
                <a:latin typeface="Open Sauce One" pitchFamily="2" charset="0"/>
              </a:rPr>
              <a:t> </a:t>
            </a:r>
            <a:r>
              <a:rPr kumimoji="0" lang="de-DE" b="1" i="0" u="none" strike="noStrike" kern="1200" cap="none" spc="100" normalizeH="0" baseline="0" noProof="0" err="1">
                <a:ln>
                  <a:noFill/>
                </a:ln>
                <a:solidFill>
                  <a:schemeClr val="tx2"/>
                </a:solidFill>
                <a:effectLst/>
                <a:uLnTx/>
                <a:uFillTx/>
                <a:latin typeface="Open Sauce One" pitchFamily="2" charset="0"/>
              </a:rPr>
              <a:t>ipsum</a:t>
            </a:r>
            <a:endParaRPr kumimoji="0" lang="de-DE" b="1" i="0" u="none" strike="noStrike" kern="1200" cap="none" spc="100" normalizeH="0" baseline="0" noProof="0">
              <a:ln>
                <a:noFill/>
              </a:ln>
              <a:solidFill>
                <a:schemeClr val="tx2"/>
              </a:solidFill>
              <a:effectLst/>
              <a:uLnTx/>
              <a:uFillTx/>
              <a:latin typeface="Open Sauce One" pitchFamily="2" charset="0"/>
            </a:endParaRPr>
          </a:p>
        </p:txBody>
      </p:sp>
      <p:sp>
        <p:nvSpPr>
          <p:cNvPr id="42" name="Szövegdoboz 41">
            <a:extLst>
              <a:ext uri="{FF2B5EF4-FFF2-40B4-BE49-F238E27FC236}">
                <a16:creationId xmlns:a16="http://schemas.microsoft.com/office/drawing/2014/main" id="{E86AD9AF-82C4-0340-93CC-C05F75D58DA8}"/>
              </a:ext>
            </a:extLst>
          </p:cNvPr>
          <p:cNvSpPr txBox="1"/>
          <p:nvPr/>
        </p:nvSpPr>
        <p:spPr>
          <a:xfrm>
            <a:off x="6184877" y="1682741"/>
            <a:ext cx="3027550" cy="201530"/>
          </a:xfrm>
          <a:prstGeom prst="rect">
            <a:avLst/>
          </a:prstGeom>
          <a:noFill/>
        </p:spPr>
        <p:txBody>
          <a:bodyPr wrap="square" lIns="0" tIns="0" rIns="0" bIns="0">
            <a:spAutoFit/>
          </a:bodyPr>
          <a:lstStyle/>
          <a:p>
            <a:pPr>
              <a:lnSpc>
                <a:spcPct val="120000"/>
              </a:lnSpc>
            </a:pPr>
            <a:r>
              <a:rPr lang="en-GB" sz="1200" b="1">
                <a:latin typeface="Open Sauce One" pitchFamily="2" charset="0"/>
              </a:rPr>
              <a:t>Callout</a:t>
            </a:r>
            <a:endParaRPr lang="en-US" sz="1200" b="1">
              <a:latin typeface="Open Sauce One" pitchFamily="2" charset="0"/>
            </a:endParaRPr>
          </a:p>
        </p:txBody>
      </p:sp>
      <p:sp>
        <p:nvSpPr>
          <p:cNvPr id="43" name="Lekerekített téglalap 42">
            <a:extLst>
              <a:ext uri="{FF2B5EF4-FFF2-40B4-BE49-F238E27FC236}">
                <a16:creationId xmlns:a16="http://schemas.microsoft.com/office/drawing/2014/main" id="{8E8FAF3C-AF6D-EEF0-6A6B-B6827188693E}"/>
              </a:ext>
            </a:extLst>
          </p:cNvPr>
          <p:cNvSpPr/>
          <p:nvPr/>
        </p:nvSpPr>
        <p:spPr>
          <a:xfrm>
            <a:off x="6177020" y="2411481"/>
            <a:ext cx="5411408" cy="996601"/>
          </a:xfrm>
          <a:prstGeom prst="roundRect">
            <a:avLst>
              <a:gd name="adj" fmla="val 20596"/>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FE702E"/>
              </a:buClr>
              <a:buSzTx/>
              <a:buFontTx/>
              <a:buNone/>
              <a:tabLst/>
              <a:defRPr/>
            </a:pPr>
            <a:r>
              <a:rPr kumimoji="0" lang="de-DE" b="1" i="0" u="none" strike="noStrike" kern="1200" cap="none" spc="100" normalizeH="0" baseline="0" noProof="0" err="1">
                <a:ln>
                  <a:noFill/>
                </a:ln>
                <a:solidFill>
                  <a:schemeClr val="tx2"/>
                </a:solidFill>
                <a:effectLst/>
                <a:uLnTx/>
                <a:uFillTx/>
                <a:latin typeface="Open Sauce One" pitchFamily="2" charset="0"/>
              </a:rPr>
              <a:t>Lorem</a:t>
            </a:r>
            <a:r>
              <a:rPr kumimoji="0" lang="de-DE" b="1" i="0" u="none" strike="noStrike" kern="1200" cap="none" spc="100" normalizeH="0" baseline="0" noProof="0">
                <a:ln>
                  <a:noFill/>
                </a:ln>
                <a:solidFill>
                  <a:schemeClr val="tx2"/>
                </a:solidFill>
                <a:effectLst/>
                <a:uLnTx/>
                <a:uFillTx/>
                <a:latin typeface="Open Sauce One" pitchFamily="2" charset="0"/>
              </a:rPr>
              <a:t> </a:t>
            </a:r>
            <a:r>
              <a:rPr kumimoji="0" lang="de-DE" b="1" i="0" u="none" strike="noStrike" kern="1200" cap="none" spc="100" normalizeH="0" baseline="0" noProof="0" err="1">
                <a:ln>
                  <a:noFill/>
                </a:ln>
                <a:solidFill>
                  <a:schemeClr val="tx2"/>
                </a:solidFill>
                <a:effectLst/>
                <a:uLnTx/>
                <a:uFillTx/>
                <a:latin typeface="Open Sauce One" pitchFamily="2" charset="0"/>
              </a:rPr>
              <a:t>ipsum</a:t>
            </a:r>
            <a:r>
              <a:rPr kumimoji="0" lang="de-DE" b="1" i="0" u="none" strike="noStrike" kern="1200" cap="none" spc="100" normalizeH="0" baseline="0" noProof="0">
                <a:ln>
                  <a:noFill/>
                </a:ln>
                <a:solidFill>
                  <a:schemeClr val="tx2"/>
                </a:solidFill>
                <a:effectLst/>
                <a:uLnTx/>
                <a:uFillTx/>
                <a:latin typeface="Open Sauce One" pitchFamily="2" charset="0"/>
              </a:rPr>
              <a:t> </a:t>
            </a:r>
            <a:r>
              <a:rPr kumimoji="0" lang="de-DE" b="1" i="0" u="none" strike="noStrike" kern="1200" cap="none" spc="100" normalizeH="0" baseline="0" noProof="0" err="1">
                <a:ln>
                  <a:noFill/>
                </a:ln>
                <a:solidFill>
                  <a:schemeClr val="tx2"/>
                </a:solidFill>
                <a:effectLst/>
                <a:uLnTx/>
                <a:uFillTx/>
                <a:latin typeface="Open Sauce One" pitchFamily="2" charset="0"/>
              </a:rPr>
              <a:t>dolor</a:t>
            </a:r>
            <a:r>
              <a:rPr kumimoji="0" lang="de-DE" b="1" i="0" u="none" strike="noStrike" kern="1200" cap="none" spc="100" normalizeH="0" baseline="0" noProof="0">
                <a:ln>
                  <a:noFill/>
                </a:ln>
                <a:solidFill>
                  <a:schemeClr val="tx2"/>
                </a:solidFill>
                <a:effectLst/>
                <a:uLnTx/>
                <a:uFillTx/>
                <a:latin typeface="Open Sauce One" pitchFamily="2" charset="0"/>
              </a:rPr>
              <a:t> </a:t>
            </a:r>
            <a:r>
              <a:rPr kumimoji="0" lang="de-DE" b="1" i="0" u="none" strike="noStrike" kern="1200" cap="none" spc="100" normalizeH="0" baseline="0" noProof="0" err="1">
                <a:ln>
                  <a:noFill/>
                </a:ln>
                <a:solidFill>
                  <a:schemeClr val="tx2"/>
                </a:solidFill>
                <a:effectLst/>
                <a:uLnTx/>
                <a:uFillTx/>
                <a:latin typeface="Open Sauce One" pitchFamily="2" charset="0"/>
              </a:rPr>
              <a:t>sit</a:t>
            </a:r>
            <a:r>
              <a:rPr kumimoji="0" lang="de-DE" b="1" i="0" u="none" strike="noStrike" kern="1200" cap="none" spc="100" normalizeH="0" baseline="0" noProof="0">
                <a:ln>
                  <a:noFill/>
                </a:ln>
                <a:solidFill>
                  <a:schemeClr val="tx2"/>
                </a:solidFill>
                <a:effectLst/>
                <a:uLnTx/>
                <a:uFillTx/>
                <a:latin typeface="Open Sauce One" pitchFamily="2" charset="0"/>
              </a:rPr>
              <a:t> atmet</a:t>
            </a:r>
          </a:p>
        </p:txBody>
      </p:sp>
    </p:spTree>
    <p:extLst>
      <p:ext uri="{BB962C8B-B14F-4D97-AF65-F5344CB8AC3E}">
        <p14:creationId xmlns:p14="http://schemas.microsoft.com/office/powerpoint/2010/main" val="39082787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893F48-B8BF-5480-33A7-6B1F083EBE41}"/>
              </a:ext>
            </a:extLst>
          </p:cNvPr>
          <p:cNvGraphicFramePr>
            <a:graphicFrameLocks noChangeAspect="1"/>
          </p:cNvGraphicFramePr>
          <p:nvPr>
            <p:custDataLst>
              <p:tags r:id="rId1"/>
            </p:custDataLst>
            <p:extLst>
              <p:ext uri="{D42A27DB-BD31-4B8C-83A1-F6EECF244321}">
                <p14:modId xmlns:p14="http://schemas.microsoft.com/office/powerpoint/2010/main" val="15387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C1893F48-B8BF-5480-33A7-6B1F083EBE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Logos</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38</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esources</a:t>
            </a:r>
          </a:p>
        </p:txBody>
      </p:sp>
      <p:pic>
        <p:nvPicPr>
          <p:cNvPr id="15" name="Ábra 14">
            <a:extLst>
              <a:ext uri="{FF2B5EF4-FFF2-40B4-BE49-F238E27FC236}">
                <a16:creationId xmlns:a16="http://schemas.microsoft.com/office/drawing/2014/main" id="{E90694E1-B439-8BD6-9D62-1FC1EC7163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98702" y="3085345"/>
            <a:ext cx="842211" cy="842211"/>
          </a:xfrm>
          <a:prstGeom prst="rect">
            <a:avLst/>
          </a:prstGeom>
        </p:spPr>
      </p:pic>
      <p:sp>
        <p:nvSpPr>
          <p:cNvPr id="16" name="Szövegdoboz 15">
            <a:extLst>
              <a:ext uri="{FF2B5EF4-FFF2-40B4-BE49-F238E27FC236}">
                <a16:creationId xmlns:a16="http://schemas.microsoft.com/office/drawing/2014/main" id="{602E940B-3FA5-05E4-5A39-D60FB99B87D3}"/>
              </a:ext>
            </a:extLst>
          </p:cNvPr>
          <p:cNvSpPr txBox="1"/>
          <p:nvPr/>
        </p:nvSpPr>
        <p:spPr>
          <a:xfrm>
            <a:off x="377387" y="1765864"/>
            <a:ext cx="3027550" cy="201530"/>
          </a:xfrm>
          <a:prstGeom prst="rect">
            <a:avLst/>
          </a:prstGeom>
          <a:noFill/>
        </p:spPr>
        <p:txBody>
          <a:bodyPr wrap="square" lIns="0" tIns="0" rIns="0" bIns="0">
            <a:spAutoFit/>
          </a:bodyPr>
          <a:lstStyle/>
          <a:p>
            <a:pPr>
              <a:lnSpc>
                <a:spcPct val="120000"/>
              </a:lnSpc>
            </a:pPr>
            <a:r>
              <a:rPr kumimoji="0" lang="en-GB" sz="1200" b="0" i="0" u="none" strike="noStrike" kern="1200" cap="none" spc="0" normalizeH="0" baseline="0" noProof="0">
                <a:ln>
                  <a:noFill/>
                </a:ln>
                <a:solidFill>
                  <a:schemeClr val="bg1">
                    <a:lumMod val="50000"/>
                  </a:schemeClr>
                </a:solidFill>
                <a:effectLst/>
                <a:uLnTx/>
                <a:uFillTx/>
                <a:latin typeface="Open Sauce One" pitchFamily="2" charset="0"/>
              </a:rPr>
              <a:t>Hypatos Dark Blue</a:t>
            </a:r>
            <a:endParaRPr lang="en-US" sz="1200">
              <a:solidFill>
                <a:schemeClr val="bg1">
                  <a:lumMod val="50000"/>
                </a:schemeClr>
              </a:solidFill>
              <a:latin typeface="Open Sauce One" pitchFamily="2" charset="0"/>
            </a:endParaRPr>
          </a:p>
        </p:txBody>
      </p:sp>
      <p:sp>
        <p:nvSpPr>
          <p:cNvPr id="19" name="Téglalap 18">
            <a:extLst>
              <a:ext uri="{FF2B5EF4-FFF2-40B4-BE49-F238E27FC236}">
                <a16:creationId xmlns:a16="http://schemas.microsoft.com/office/drawing/2014/main" id="{D0403710-EAA9-0D1F-B59C-1107BD02F541}"/>
              </a:ext>
            </a:extLst>
          </p:cNvPr>
          <p:cNvSpPr/>
          <p:nvPr/>
        </p:nvSpPr>
        <p:spPr>
          <a:xfrm>
            <a:off x="359859" y="2187238"/>
            <a:ext cx="3765885" cy="13192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0" name="Téglalap 19">
            <a:extLst>
              <a:ext uri="{FF2B5EF4-FFF2-40B4-BE49-F238E27FC236}">
                <a16:creationId xmlns:a16="http://schemas.microsoft.com/office/drawing/2014/main" id="{98C505C2-BDC5-4DEA-97FA-672501A5BFC0}"/>
              </a:ext>
            </a:extLst>
          </p:cNvPr>
          <p:cNvSpPr/>
          <p:nvPr/>
        </p:nvSpPr>
        <p:spPr>
          <a:xfrm>
            <a:off x="359859" y="4115526"/>
            <a:ext cx="3765885" cy="13192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1" name="Téglalap 20">
            <a:extLst>
              <a:ext uri="{FF2B5EF4-FFF2-40B4-BE49-F238E27FC236}">
                <a16:creationId xmlns:a16="http://schemas.microsoft.com/office/drawing/2014/main" id="{BF4A1B74-AFA1-4D72-3A34-F64B6A87F1D4}"/>
              </a:ext>
            </a:extLst>
          </p:cNvPr>
          <p:cNvSpPr/>
          <p:nvPr/>
        </p:nvSpPr>
        <p:spPr>
          <a:xfrm>
            <a:off x="4486860" y="2187238"/>
            <a:ext cx="3765885" cy="13192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2" name="Téglalap 21">
            <a:extLst>
              <a:ext uri="{FF2B5EF4-FFF2-40B4-BE49-F238E27FC236}">
                <a16:creationId xmlns:a16="http://schemas.microsoft.com/office/drawing/2014/main" id="{AD517EEB-5DCB-E38D-FBFA-97260C389420}"/>
              </a:ext>
            </a:extLst>
          </p:cNvPr>
          <p:cNvSpPr/>
          <p:nvPr/>
        </p:nvSpPr>
        <p:spPr>
          <a:xfrm>
            <a:off x="4486859" y="4099218"/>
            <a:ext cx="3765885" cy="131921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pic>
        <p:nvPicPr>
          <p:cNvPr id="25" name="Tartalom helye 6">
            <a:extLst>
              <a:ext uri="{FF2B5EF4-FFF2-40B4-BE49-F238E27FC236}">
                <a16:creationId xmlns:a16="http://schemas.microsoft.com/office/drawing/2014/main" id="{9072C566-B8E5-D38B-C7A1-5F723A2A6D84}"/>
              </a:ext>
            </a:extLst>
          </p:cNvPr>
          <p:cNvPicPr>
            <a:picLocks noGrp="1" noChangeAspect="1"/>
          </p:cNvPicPr>
          <p:nvPr>
            <p:ph idx="1"/>
          </p:nvPr>
        </p:nvPicPr>
        <p:blipFill>
          <a:blip r:embed="rId7">
            <a:extLst>
              <a:ext uri="{96DAC541-7B7A-43D3-8B79-37D633B846F1}">
                <asvg:svgBlip xmlns:asvg="http://schemas.microsoft.com/office/drawing/2016/SVG/main" r:embed="rId8"/>
              </a:ext>
            </a:extLst>
          </a:blip>
          <a:stretch>
            <a:fillRect/>
          </a:stretch>
        </p:blipFill>
        <p:spPr>
          <a:xfrm>
            <a:off x="516271" y="4189053"/>
            <a:ext cx="3387676" cy="1169218"/>
          </a:xfrm>
        </p:spPr>
      </p:pic>
      <p:pic>
        <p:nvPicPr>
          <p:cNvPr id="26" name="Ábra 25">
            <a:extLst>
              <a:ext uri="{FF2B5EF4-FFF2-40B4-BE49-F238E27FC236}">
                <a16:creationId xmlns:a16="http://schemas.microsoft.com/office/drawing/2014/main" id="{AB2E520E-FF3D-DD6C-8FDA-70AF362094C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6270" y="2269878"/>
            <a:ext cx="3380873" cy="1169219"/>
          </a:xfrm>
          <a:prstGeom prst="rect">
            <a:avLst/>
          </a:prstGeom>
        </p:spPr>
      </p:pic>
      <p:pic>
        <p:nvPicPr>
          <p:cNvPr id="27" name="Ábra 26">
            <a:extLst>
              <a:ext uri="{FF2B5EF4-FFF2-40B4-BE49-F238E27FC236}">
                <a16:creationId xmlns:a16="http://schemas.microsoft.com/office/drawing/2014/main" id="{2DCC97C2-A795-C230-2166-351A99EA67C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79366" y="2270176"/>
            <a:ext cx="3380873" cy="1169219"/>
          </a:xfrm>
          <a:prstGeom prst="rect">
            <a:avLst/>
          </a:prstGeom>
        </p:spPr>
      </p:pic>
      <p:pic>
        <p:nvPicPr>
          <p:cNvPr id="28" name="Ábra 27">
            <a:extLst>
              <a:ext uri="{FF2B5EF4-FFF2-40B4-BE49-F238E27FC236}">
                <a16:creationId xmlns:a16="http://schemas.microsoft.com/office/drawing/2014/main" id="{481851F1-3DA9-B95B-5D04-1787C1A1972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679366" y="4190522"/>
            <a:ext cx="3380873" cy="1169219"/>
          </a:xfrm>
          <a:prstGeom prst="rect">
            <a:avLst/>
          </a:prstGeom>
        </p:spPr>
      </p:pic>
      <p:sp>
        <p:nvSpPr>
          <p:cNvPr id="30" name="Szövegdoboz 29">
            <a:extLst>
              <a:ext uri="{FF2B5EF4-FFF2-40B4-BE49-F238E27FC236}">
                <a16:creationId xmlns:a16="http://schemas.microsoft.com/office/drawing/2014/main" id="{1D6E5CD1-34F3-2D99-7F65-0474DD9605E6}"/>
              </a:ext>
            </a:extLst>
          </p:cNvPr>
          <p:cNvSpPr txBox="1"/>
          <p:nvPr/>
        </p:nvSpPr>
        <p:spPr>
          <a:xfrm>
            <a:off x="4486860" y="1765864"/>
            <a:ext cx="3027550" cy="201530"/>
          </a:xfrm>
          <a:prstGeom prst="rect">
            <a:avLst/>
          </a:prstGeom>
          <a:noFill/>
        </p:spPr>
        <p:txBody>
          <a:bodyPr wrap="square" lIns="0" tIns="0" rIns="0" bIns="0">
            <a:spAutoFit/>
          </a:bodyPr>
          <a:lstStyle/>
          <a:p>
            <a:pPr>
              <a:lnSpc>
                <a:spcPct val="120000"/>
              </a:lnSpc>
            </a:pPr>
            <a:r>
              <a:rPr kumimoji="0" lang="en-GB" sz="1200" b="0" i="0" u="none" strike="noStrike" kern="1200" cap="none" spc="0" normalizeH="0" baseline="0" noProof="0">
                <a:ln>
                  <a:noFill/>
                </a:ln>
                <a:solidFill>
                  <a:schemeClr val="bg1">
                    <a:lumMod val="50000"/>
                  </a:schemeClr>
                </a:solidFill>
                <a:effectLst/>
                <a:uLnTx/>
                <a:uFillTx/>
                <a:latin typeface="Open Sauce One" pitchFamily="2" charset="0"/>
              </a:rPr>
              <a:t>Hypatos Pink</a:t>
            </a:r>
            <a:endParaRPr lang="en-US" sz="1200">
              <a:solidFill>
                <a:schemeClr val="bg1">
                  <a:lumMod val="50000"/>
                </a:schemeClr>
              </a:solidFill>
              <a:latin typeface="Open Sauce One" pitchFamily="2" charset="0"/>
            </a:endParaRPr>
          </a:p>
        </p:txBody>
      </p:sp>
      <p:sp>
        <p:nvSpPr>
          <p:cNvPr id="31" name="Szövegdoboz 30">
            <a:extLst>
              <a:ext uri="{FF2B5EF4-FFF2-40B4-BE49-F238E27FC236}">
                <a16:creationId xmlns:a16="http://schemas.microsoft.com/office/drawing/2014/main" id="{CC0265B9-CA74-8237-4851-754B2389FEDC}"/>
              </a:ext>
            </a:extLst>
          </p:cNvPr>
          <p:cNvSpPr txBox="1"/>
          <p:nvPr/>
        </p:nvSpPr>
        <p:spPr>
          <a:xfrm>
            <a:off x="4486859" y="3711322"/>
            <a:ext cx="3027550" cy="201530"/>
          </a:xfrm>
          <a:prstGeom prst="rect">
            <a:avLst/>
          </a:prstGeom>
          <a:noFill/>
        </p:spPr>
        <p:txBody>
          <a:bodyPr wrap="square" lIns="0" tIns="0" rIns="0" bIns="0">
            <a:spAutoFit/>
          </a:bodyPr>
          <a:lstStyle/>
          <a:p>
            <a:pPr>
              <a:lnSpc>
                <a:spcPct val="120000"/>
              </a:lnSpc>
            </a:pPr>
            <a:r>
              <a:rPr kumimoji="0" lang="en-GB" sz="1200" b="0" i="0" u="none" strike="noStrike" kern="1200" cap="none" spc="0" normalizeH="0" baseline="0" noProof="0">
                <a:ln>
                  <a:noFill/>
                </a:ln>
                <a:solidFill>
                  <a:schemeClr val="bg1">
                    <a:lumMod val="50000"/>
                  </a:schemeClr>
                </a:solidFill>
                <a:effectLst/>
                <a:uLnTx/>
                <a:uFillTx/>
                <a:latin typeface="Open Sauce One" pitchFamily="2" charset="0"/>
              </a:rPr>
              <a:t>Hypatos White</a:t>
            </a:r>
            <a:endParaRPr lang="en-US" sz="1200">
              <a:solidFill>
                <a:schemeClr val="bg1">
                  <a:lumMod val="50000"/>
                </a:schemeClr>
              </a:solidFill>
              <a:latin typeface="Open Sauce One" pitchFamily="2" charset="0"/>
            </a:endParaRPr>
          </a:p>
        </p:txBody>
      </p:sp>
      <p:sp>
        <p:nvSpPr>
          <p:cNvPr id="32" name="Szövegdoboz 31">
            <a:extLst>
              <a:ext uri="{FF2B5EF4-FFF2-40B4-BE49-F238E27FC236}">
                <a16:creationId xmlns:a16="http://schemas.microsoft.com/office/drawing/2014/main" id="{F75DFABF-4ED3-4284-121E-00755F855AE5}"/>
              </a:ext>
            </a:extLst>
          </p:cNvPr>
          <p:cNvSpPr txBox="1"/>
          <p:nvPr/>
        </p:nvSpPr>
        <p:spPr>
          <a:xfrm>
            <a:off x="377387" y="3711322"/>
            <a:ext cx="3027550" cy="201530"/>
          </a:xfrm>
          <a:prstGeom prst="rect">
            <a:avLst/>
          </a:prstGeom>
          <a:noFill/>
        </p:spPr>
        <p:txBody>
          <a:bodyPr wrap="square" lIns="0" tIns="0" rIns="0" bIns="0">
            <a:spAutoFit/>
          </a:bodyPr>
          <a:lstStyle/>
          <a:p>
            <a:pPr>
              <a:lnSpc>
                <a:spcPct val="120000"/>
              </a:lnSpc>
            </a:pPr>
            <a:r>
              <a:rPr kumimoji="0" lang="en-GB" sz="1200" b="0" i="0" u="none" strike="noStrike" kern="1200" cap="none" spc="0" normalizeH="0" baseline="0" noProof="0">
                <a:ln>
                  <a:noFill/>
                </a:ln>
                <a:solidFill>
                  <a:schemeClr val="bg1">
                    <a:lumMod val="50000"/>
                  </a:schemeClr>
                </a:solidFill>
                <a:effectLst/>
                <a:uLnTx/>
                <a:uFillTx/>
                <a:latin typeface="Open Sauce One" pitchFamily="2" charset="0"/>
              </a:rPr>
              <a:t>Hypatos Blue</a:t>
            </a:r>
            <a:endParaRPr lang="en-US" sz="1200">
              <a:solidFill>
                <a:schemeClr val="bg1">
                  <a:lumMod val="50000"/>
                </a:schemeClr>
              </a:solidFill>
              <a:latin typeface="Open Sauce One" pitchFamily="2" charset="0"/>
            </a:endParaRPr>
          </a:p>
        </p:txBody>
      </p:sp>
      <p:sp>
        <p:nvSpPr>
          <p:cNvPr id="34" name="Szövegdoboz 33">
            <a:extLst>
              <a:ext uri="{FF2B5EF4-FFF2-40B4-BE49-F238E27FC236}">
                <a16:creationId xmlns:a16="http://schemas.microsoft.com/office/drawing/2014/main" id="{4C54DD37-89DA-69C1-C9A1-E52C558B36EF}"/>
              </a:ext>
            </a:extLst>
          </p:cNvPr>
          <p:cNvSpPr txBox="1"/>
          <p:nvPr/>
        </p:nvSpPr>
        <p:spPr>
          <a:xfrm>
            <a:off x="8998702" y="1765864"/>
            <a:ext cx="3027550" cy="201530"/>
          </a:xfrm>
          <a:prstGeom prst="rect">
            <a:avLst/>
          </a:prstGeom>
          <a:noFill/>
        </p:spPr>
        <p:txBody>
          <a:bodyPr wrap="square" lIns="0" tIns="0" rIns="0" bIns="0">
            <a:spAutoFit/>
          </a:bodyPr>
          <a:lstStyle/>
          <a:p>
            <a:pPr>
              <a:lnSpc>
                <a:spcPct val="120000"/>
              </a:lnSpc>
            </a:pPr>
            <a:r>
              <a:rPr kumimoji="0" lang="en-GB" sz="1200" b="1" i="0" u="none" strike="noStrike" kern="1200" cap="none" spc="0" normalizeH="0" baseline="0" noProof="0">
                <a:ln>
                  <a:noFill/>
                </a:ln>
                <a:effectLst/>
                <a:uLnTx/>
                <a:uFillTx/>
                <a:latin typeface="Open Sauce One" pitchFamily="2" charset="0"/>
              </a:rPr>
              <a:t>Hypatos Icon</a:t>
            </a:r>
            <a:endParaRPr lang="en-US" sz="1200" b="1">
              <a:latin typeface="Open Sauce One" pitchFamily="2" charset="0"/>
            </a:endParaRPr>
          </a:p>
        </p:txBody>
      </p:sp>
      <p:sp>
        <p:nvSpPr>
          <p:cNvPr id="35" name="Szövegdoboz 34">
            <a:extLst>
              <a:ext uri="{FF2B5EF4-FFF2-40B4-BE49-F238E27FC236}">
                <a16:creationId xmlns:a16="http://schemas.microsoft.com/office/drawing/2014/main" id="{7599BC99-B971-492D-0575-BC981F8FAB1D}"/>
              </a:ext>
            </a:extLst>
          </p:cNvPr>
          <p:cNvSpPr txBox="1"/>
          <p:nvPr/>
        </p:nvSpPr>
        <p:spPr>
          <a:xfrm>
            <a:off x="8998702" y="2068348"/>
            <a:ext cx="3027550" cy="866327"/>
          </a:xfrm>
          <a:prstGeom prst="rect">
            <a:avLst/>
          </a:prstGeom>
          <a:noFill/>
        </p:spPr>
        <p:txBody>
          <a:bodyPr wrap="square" lIns="0" tIns="0" rIns="0" bIns="0" anchor="t">
            <a:spAutoFit/>
          </a:bodyPr>
          <a:lstStyle/>
          <a:p>
            <a:pPr>
              <a:lnSpc>
                <a:spcPct val="120000"/>
              </a:lnSpc>
            </a:pPr>
            <a:r>
              <a:rPr kumimoji="0" lang="en-GB" sz="1200" b="0" i="0" u="none" strike="noStrike" kern="1200" cap="none" spc="0" normalizeH="0" baseline="0" noProof="0">
                <a:ln>
                  <a:noFill/>
                </a:ln>
                <a:solidFill>
                  <a:schemeClr val="bg1">
                    <a:lumMod val="50000"/>
                  </a:schemeClr>
                </a:solidFill>
                <a:effectLst/>
                <a:uLnTx/>
                <a:uFillTx/>
                <a:latin typeface="Open Sauce One"/>
              </a:rPr>
              <a:t>In case the logo </a:t>
            </a:r>
            <a:r>
              <a:rPr lang="en-GB" sz="1200">
                <a:solidFill>
                  <a:schemeClr val="bg1">
                    <a:lumMod val="50000"/>
                  </a:schemeClr>
                </a:solidFill>
                <a:latin typeface="Open Sauce One"/>
              </a:rPr>
              <a:t>cannot</a:t>
            </a:r>
            <a:r>
              <a:rPr kumimoji="0" lang="en-GB" sz="1200" b="0" i="0" u="none" strike="noStrike" kern="1200" cap="none" spc="0" normalizeH="0" baseline="0" noProof="0">
                <a:ln>
                  <a:noFill/>
                </a:ln>
                <a:solidFill>
                  <a:schemeClr val="bg1">
                    <a:lumMod val="50000"/>
                  </a:schemeClr>
                </a:solidFill>
                <a:effectLst/>
                <a:uLnTx/>
                <a:uFillTx/>
                <a:latin typeface="Open Sauce One"/>
              </a:rPr>
              <a:t> be used (</a:t>
            </a:r>
            <a:r>
              <a:rPr kumimoji="0" lang="en-GB" sz="1200" b="0" i="0" u="none" strike="noStrike" kern="1200" cap="none" spc="0" normalizeH="0" baseline="0" noProof="0" err="1">
                <a:ln>
                  <a:noFill/>
                </a:ln>
                <a:solidFill>
                  <a:schemeClr val="bg1">
                    <a:lumMod val="50000"/>
                  </a:schemeClr>
                </a:solidFill>
                <a:effectLst/>
                <a:uLnTx/>
                <a:uFillTx/>
                <a:latin typeface="Open Sauce One"/>
              </a:rPr>
              <a:t>eg</a:t>
            </a:r>
            <a:r>
              <a:rPr kumimoji="0" lang="en-GB" sz="1200" b="0" i="0" u="none" strike="noStrike" kern="1200" cap="none" spc="0" normalizeH="0" baseline="0" noProof="0">
                <a:ln>
                  <a:noFill/>
                </a:ln>
                <a:solidFill>
                  <a:schemeClr val="bg1">
                    <a:lumMod val="50000"/>
                  </a:schemeClr>
                </a:solidFill>
                <a:effectLst/>
                <a:uLnTx/>
                <a:uFillTx/>
                <a:latin typeface="Open Sauce One"/>
              </a:rPr>
              <a:t>: a </a:t>
            </a:r>
            <a:r>
              <a:rPr kumimoji="0" lang="en-GB" sz="1200" b="0" i="0" u="none" strike="noStrike" kern="1200" cap="none" spc="0" normalizeH="0" baseline="0" noProof="0" err="1">
                <a:ln>
                  <a:noFill/>
                </a:ln>
                <a:solidFill>
                  <a:schemeClr val="bg1">
                    <a:lumMod val="50000"/>
                  </a:schemeClr>
                </a:solidFill>
                <a:effectLst/>
                <a:uLnTx/>
                <a:uFillTx/>
                <a:latin typeface="Open Sauce One"/>
              </a:rPr>
              <a:t>a</a:t>
            </a:r>
            <a:r>
              <a:rPr kumimoji="0" lang="en-GB" sz="1200" b="0" i="0" u="none" strike="noStrike" kern="1200" cap="none" spc="0" normalizeH="0" baseline="0" noProof="0">
                <a:ln>
                  <a:noFill/>
                </a:ln>
                <a:solidFill>
                  <a:schemeClr val="bg1">
                    <a:lumMod val="50000"/>
                  </a:schemeClr>
                </a:solidFill>
                <a:effectLst/>
                <a:uLnTx/>
                <a:uFillTx/>
                <a:latin typeface="Open Sauce One"/>
              </a:rPr>
              <a:t> part of a complex graph) please use the Hypatos Icon. However, the logo shall be used whenever it is possible.</a:t>
            </a:r>
            <a:endParaRPr lang="en-US" sz="1200">
              <a:solidFill>
                <a:schemeClr val="bg1">
                  <a:lumMod val="50000"/>
                </a:schemeClr>
              </a:solidFill>
              <a:latin typeface="Open Sauce One"/>
            </a:endParaRPr>
          </a:p>
        </p:txBody>
      </p:sp>
    </p:spTree>
    <p:extLst>
      <p:ext uri="{BB962C8B-B14F-4D97-AF65-F5344CB8AC3E}">
        <p14:creationId xmlns:p14="http://schemas.microsoft.com/office/powerpoint/2010/main" val="4857273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3273EF-B789-B14B-06AB-97425CA58176}"/>
              </a:ext>
            </a:extLst>
          </p:cNvPr>
          <p:cNvGraphicFramePr>
            <a:graphicFrameLocks noChangeAspect="1"/>
          </p:cNvGraphicFramePr>
          <p:nvPr>
            <p:custDataLst>
              <p:tags r:id="rId1"/>
            </p:custDataLst>
            <p:extLst>
              <p:ext uri="{D42A27DB-BD31-4B8C-83A1-F6EECF244321}">
                <p14:modId xmlns:p14="http://schemas.microsoft.com/office/powerpoint/2010/main" val="1704491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073273EF-B789-B14B-06AB-97425CA581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Product Logos</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39</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esources</a:t>
            </a:r>
          </a:p>
        </p:txBody>
      </p:sp>
      <p:pic>
        <p:nvPicPr>
          <p:cNvPr id="8" name="Ábra 7">
            <a:extLst>
              <a:ext uri="{FF2B5EF4-FFF2-40B4-BE49-F238E27FC236}">
                <a16:creationId xmlns:a16="http://schemas.microsoft.com/office/drawing/2014/main" id="{10F77D59-8FBB-F119-C80F-C01DFE5DE1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7731" y="4640369"/>
            <a:ext cx="4379495" cy="531492"/>
          </a:xfrm>
          <a:prstGeom prst="rect">
            <a:avLst/>
          </a:prstGeom>
        </p:spPr>
      </p:pic>
      <p:pic>
        <p:nvPicPr>
          <p:cNvPr id="10" name="Ábra 9">
            <a:extLst>
              <a:ext uri="{FF2B5EF4-FFF2-40B4-BE49-F238E27FC236}">
                <a16:creationId xmlns:a16="http://schemas.microsoft.com/office/drawing/2014/main" id="{D105FE63-84D4-692D-EC4B-885DCFA7568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99254" y="4606543"/>
            <a:ext cx="3446799" cy="528445"/>
          </a:xfrm>
          <a:prstGeom prst="rect">
            <a:avLst/>
          </a:prstGeom>
        </p:spPr>
      </p:pic>
      <p:pic>
        <p:nvPicPr>
          <p:cNvPr id="12" name="Ábra 11">
            <a:extLst>
              <a:ext uri="{FF2B5EF4-FFF2-40B4-BE49-F238E27FC236}">
                <a16:creationId xmlns:a16="http://schemas.microsoft.com/office/drawing/2014/main" id="{02567588-DA5C-EE42-D59C-A3D1E6C94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87222" y="3568456"/>
            <a:ext cx="4259601" cy="563883"/>
          </a:xfrm>
          <a:prstGeom prst="rect">
            <a:avLst/>
          </a:prstGeom>
        </p:spPr>
      </p:pic>
      <p:pic>
        <p:nvPicPr>
          <p:cNvPr id="14" name="Ábra 13">
            <a:extLst>
              <a:ext uri="{FF2B5EF4-FFF2-40B4-BE49-F238E27FC236}">
                <a16:creationId xmlns:a16="http://schemas.microsoft.com/office/drawing/2014/main" id="{E011CE71-5255-C532-4114-27C98984139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7387" y="3631552"/>
            <a:ext cx="4379495" cy="514831"/>
          </a:xfrm>
          <a:prstGeom prst="rect">
            <a:avLst/>
          </a:prstGeom>
        </p:spPr>
      </p:pic>
      <p:pic>
        <p:nvPicPr>
          <p:cNvPr id="18" name="Ábra 17">
            <a:extLst>
              <a:ext uri="{FF2B5EF4-FFF2-40B4-BE49-F238E27FC236}">
                <a16:creationId xmlns:a16="http://schemas.microsoft.com/office/drawing/2014/main" id="{A3EA1387-2AD0-1F99-A38F-28FB1A40F5E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87222" y="2628328"/>
            <a:ext cx="3446799" cy="563883"/>
          </a:xfrm>
          <a:prstGeom prst="rect">
            <a:avLst/>
          </a:prstGeom>
        </p:spPr>
      </p:pic>
      <p:pic>
        <p:nvPicPr>
          <p:cNvPr id="24" name="Ábra 23">
            <a:extLst>
              <a:ext uri="{FF2B5EF4-FFF2-40B4-BE49-F238E27FC236}">
                <a16:creationId xmlns:a16="http://schemas.microsoft.com/office/drawing/2014/main" id="{C62A8B07-3368-32B2-1400-88B4813DCD2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57731" y="2684552"/>
            <a:ext cx="3047206" cy="532728"/>
          </a:xfrm>
          <a:prstGeom prst="rect">
            <a:avLst/>
          </a:prstGeom>
        </p:spPr>
      </p:pic>
      <p:sp>
        <p:nvSpPr>
          <p:cNvPr id="32" name="Szövegdoboz 31">
            <a:extLst>
              <a:ext uri="{FF2B5EF4-FFF2-40B4-BE49-F238E27FC236}">
                <a16:creationId xmlns:a16="http://schemas.microsoft.com/office/drawing/2014/main" id="{1B674E9B-0999-08B9-27AD-21DA9297C43C}"/>
              </a:ext>
            </a:extLst>
          </p:cNvPr>
          <p:cNvSpPr txBox="1"/>
          <p:nvPr/>
        </p:nvSpPr>
        <p:spPr>
          <a:xfrm>
            <a:off x="377387" y="2042379"/>
            <a:ext cx="3027550" cy="268728"/>
          </a:xfrm>
          <a:prstGeom prst="rect">
            <a:avLst/>
          </a:prstGeom>
          <a:noFill/>
        </p:spPr>
        <p:txBody>
          <a:bodyPr wrap="square" lIns="0" tIns="0" rIns="0" bIns="0">
            <a:spAutoFit/>
          </a:bodyPr>
          <a:lstStyle/>
          <a:p>
            <a:pPr>
              <a:lnSpc>
                <a:spcPct val="120000"/>
              </a:lnSpc>
            </a:pPr>
            <a:r>
              <a:rPr kumimoji="0" lang="en-GB" sz="1600" b="0" i="0" u="none" strike="noStrike" kern="1200" cap="none" spc="0" normalizeH="0" baseline="0" noProof="0">
                <a:ln>
                  <a:noFill/>
                </a:ln>
                <a:effectLst/>
                <a:uLnTx/>
                <a:uFillTx/>
                <a:latin typeface="Open Sauce One" pitchFamily="2" charset="0"/>
              </a:rPr>
              <a:t>Platform Components</a:t>
            </a:r>
            <a:endParaRPr lang="en-US" sz="1600">
              <a:latin typeface="Open Sauce One" pitchFamily="2" charset="0"/>
            </a:endParaRPr>
          </a:p>
        </p:txBody>
      </p:sp>
      <p:sp>
        <p:nvSpPr>
          <p:cNvPr id="33" name="Szövegdoboz 32">
            <a:extLst>
              <a:ext uri="{FF2B5EF4-FFF2-40B4-BE49-F238E27FC236}">
                <a16:creationId xmlns:a16="http://schemas.microsoft.com/office/drawing/2014/main" id="{111664FE-8C5A-22E4-44C9-5703C15DAB88}"/>
              </a:ext>
            </a:extLst>
          </p:cNvPr>
          <p:cNvSpPr txBox="1"/>
          <p:nvPr/>
        </p:nvSpPr>
        <p:spPr>
          <a:xfrm>
            <a:off x="6487222" y="2042379"/>
            <a:ext cx="3027550" cy="268728"/>
          </a:xfrm>
          <a:prstGeom prst="rect">
            <a:avLst/>
          </a:prstGeom>
          <a:noFill/>
        </p:spPr>
        <p:txBody>
          <a:bodyPr wrap="square" lIns="0" tIns="0" rIns="0" bIns="0">
            <a:spAutoFit/>
          </a:bodyPr>
          <a:lstStyle/>
          <a:p>
            <a:pPr>
              <a:lnSpc>
                <a:spcPct val="120000"/>
              </a:lnSpc>
            </a:pPr>
            <a:r>
              <a:rPr kumimoji="0" lang="en-GB" sz="1600" b="0" i="0" u="none" strike="noStrike" kern="1200" cap="none" spc="0" normalizeH="0" baseline="0" noProof="0">
                <a:ln>
                  <a:noFill/>
                </a:ln>
                <a:effectLst/>
                <a:uLnTx/>
                <a:uFillTx/>
                <a:latin typeface="Open Sauce One" pitchFamily="2" charset="0"/>
              </a:rPr>
              <a:t>Hypatos Suite Components </a:t>
            </a:r>
            <a:endParaRPr lang="en-US" sz="1600">
              <a:latin typeface="Open Sauce One" pitchFamily="2" charset="0"/>
            </a:endParaRPr>
          </a:p>
        </p:txBody>
      </p:sp>
      <p:cxnSp>
        <p:nvCxnSpPr>
          <p:cNvPr id="37" name="Egyenes összekötő 36">
            <a:extLst>
              <a:ext uri="{FF2B5EF4-FFF2-40B4-BE49-F238E27FC236}">
                <a16:creationId xmlns:a16="http://schemas.microsoft.com/office/drawing/2014/main" id="{054B566F-F87D-2EAE-C86A-C9CAD6A9A199}"/>
              </a:ext>
            </a:extLst>
          </p:cNvPr>
          <p:cNvCxnSpPr>
            <a:cxnSpLocks/>
          </p:cNvCxnSpPr>
          <p:nvPr/>
        </p:nvCxnSpPr>
        <p:spPr>
          <a:xfrm>
            <a:off x="5807779" y="1759203"/>
            <a:ext cx="0" cy="4133281"/>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84443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596B07D-E7FD-9D77-6E9E-02D3F1443077}"/>
              </a:ext>
            </a:extLst>
          </p:cNvPr>
          <p:cNvGraphicFramePr>
            <a:graphicFrameLocks noChangeAspect="1"/>
          </p:cNvGraphicFramePr>
          <p:nvPr>
            <p:custDataLst>
              <p:tags r:id="rId1"/>
            </p:custDataLst>
            <p:extLst>
              <p:ext uri="{D42A27DB-BD31-4B8C-83A1-F6EECF244321}">
                <p14:modId xmlns:p14="http://schemas.microsoft.com/office/powerpoint/2010/main" val="4060451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8" name="Object 7" hidden="1">
                        <a:extLst>
                          <a:ext uri="{FF2B5EF4-FFF2-40B4-BE49-F238E27FC236}">
                            <a16:creationId xmlns:a16="http://schemas.microsoft.com/office/drawing/2014/main" id="{B596B07D-E7FD-9D77-6E9E-02D3F1443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Risks – Focus on Open / In Response</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4</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a:xfrm>
            <a:off x="406268" y="462666"/>
            <a:ext cx="11341099" cy="391374"/>
          </a:xfrm>
        </p:spPr>
        <p:txBody>
          <a:bodyPr/>
          <a:lstStyle/>
          <a:p>
            <a:r>
              <a:rPr lang="en-US"/>
              <a:t>RAID (Risks, Actions, Issues &amp; Decisions) Follow-up</a:t>
            </a:r>
          </a:p>
          <a:p>
            <a:endParaRPr lang="en-US"/>
          </a:p>
        </p:txBody>
      </p:sp>
      <p:graphicFrame>
        <p:nvGraphicFramePr>
          <p:cNvPr id="7" name="Table 20">
            <a:extLst>
              <a:ext uri="{FF2B5EF4-FFF2-40B4-BE49-F238E27FC236}">
                <a16:creationId xmlns:a16="http://schemas.microsoft.com/office/drawing/2014/main" id="{1F13A2E4-818E-9DCE-8C94-2435952FC187}"/>
              </a:ext>
            </a:extLst>
          </p:cNvPr>
          <p:cNvGraphicFramePr>
            <a:graphicFrameLocks noGrp="1"/>
          </p:cNvGraphicFramePr>
          <p:nvPr>
            <p:extLst>
              <p:ext uri="{D42A27DB-BD31-4B8C-83A1-F6EECF244321}">
                <p14:modId xmlns:p14="http://schemas.microsoft.com/office/powerpoint/2010/main" val="4011110391"/>
              </p:ext>
            </p:extLst>
          </p:nvPr>
        </p:nvGraphicFramePr>
        <p:xfrm>
          <a:off x="406268" y="1604864"/>
          <a:ext cx="11342819" cy="3159457"/>
        </p:xfrm>
        <a:graphic>
          <a:graphicData uri="http://schemas.openxmlformats.org/drawingml/2006/table">
            <a:tbl>
              <a:tblPr firstRow="1" bandRow="1">
                <a:tableStyleId>{5C22544A-7EE6-4342-B048-85BDC9FD1C3A}</a:tableStyleId>
              </a:tblPr>
              <a:tblGrid>
                <a:gridCol w="966955">
                  <a:extLst>
                    <a:ext uri="{9D8B030D-6E8A-4147-A177-3AD203B41FA5}">
                      <a16:colId xmlns:a16="http://schemas.microsoft.com/office/drawing/2014/main" val="3287350630"/>
                    </a:ext>
                  </a:extLst>
                </a:gridCol>
                <a:gridCol w="548447">
                  <a:extLst>
                    <a:ext uri="{9D8B030D-6E8A-4147-A177-3AD203B41FA5}">
                      <a16:colId xmlns:a16="http://schemas.microsoft.com/office/drawing/2014/main" val="1514582785"/>
                    </a:ext>
                  </a:extLst>
                </a:gridCol>
                <a:gridCol w="312313">
                  <a:extLst>
                    <a:ext uri="{9D8B030D-6E8A-4147-A177-3AD203B41FA5}">
                      <a16:colId xmlns:a16="http://schemas.microsoft.com/office/drawing/2014/main" val="1751608001"/>
                    </a:ext>
                  </a:extLst>
                </a:gridCol>
                <a:gridCol w="2997285">
                  <a:extLst>
                    <a:ext uri="{9D8B030D-6E8A-4147-A177-3AD203B41FA5}">
                      <a16:colId xmlns:a16="http://schemas.microsoft.com/office/drawing/2014/main" val="401929430"/>
                    </a:ext>
                  </a:extLst>
                </a:gridCol>
                <a:gridCol w="662205">
                  <a:extLst>
                    <a:ext uri="{9D8B030D-6E8A-4147-A177-3AD203B41FA5}">
                      <a16:colId xmlns:a16="http://schemas.microsoft.com/office/drawing/2014/main" val="430674172"/>
                    </a:ext>
                  </a:extLst>
                </a:gridCol>
                <a:gridCol w="667651">
                  <a:extLst>
                    <a:ext uri="{9D8B030D-6E8A-4147-A177-3AD203B41FA5}">
                      <a16:colId xmlns:a16="http://schemas.microsoft.com/office/drawing/2014/main" val="4026057114"/>
                    </a:ext>
                  </a:extLst>
                </a:gridCol>
                <a:gridCol w="3427179">
                  <a:extLst>
                    <a:ext uri="{9D8B030D-6E8A-4147-A177-3AD203B41FA5}">
                      <a16:colId xmlns:a16="http://schemas.microsoft.com/office/drawing/2014/main" val="3217662333"/>
                    </a:ext>
                  </a:extLst>
                </a:gridCol>
                <a:gridCol w="1160802">
                  <a:extLst>
                    <a:ext uri="{9D8B030D-6E8A-4147-A177-3AD203B41FA5}">
                      <a16:colId xmlns:a16="http://schemas.microsoft.com/office/drawing/2014/main" val="3517698874"/>
                    </a:ext>
                  </a:extLst>
                </a:gridCol>
                <a:gridCol w="599982">
                  <a:extLst>
                    <a:ext uri="{9D8B030D-6E8A-4147-A177-3AD203B41FA5}">
                      <a16:colId xmlns:a16="http://schemas.microsoft.com/office/drawing/2014/main" val="1199696440"/>
                    </a:ext>
                  </a:extLst>
                </a:gridCol>
              </a:tblGrid>
              <a:tr h="549578">
                <a:tc>
                  <a:txBody>
                    <a:bodyPr/>
                    <a:lstStyle/>
                    <a:p>
                      <a:r>
                        <a:rPr lang="en-US" sz="1000" dirty="0">
                          <a:solidFill>
                            <a:schemeClr val="tx1"/>
                          </a:solidFill>
                          <a:latin typeface="Open Sauce One" panose="00000800000000000000"/>
                          <a:ea typeface="Lato"/>
                          <a:cs typeface="Lato"/>
                        </a:rPr>
                        <a:t>Status</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C1F2"/>
                    </a:solidFill>
                  </a:tcPr>
                </a:tc>
                <a:tc>
                  <a:txBody>
                    <a:bodyPr/>
                    <a:lstStyle/>
                    <a:p>
                      <a:r>
                        <a:rPr lang="en-US" sz="1000" dirty="0">
                          <a:solidFill>
                            <a:schemeClr val="tx1"/>
                          </a:solidFill>
                          <a:latin typeface="Open Sauce One" panose="00000800000000000000"/>
                          <a:ea typeface="Lato"/>
                          <a:cs typeface="Lato"/>
                        </a:rPr>
                        <a:t>Open at</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C1F2"/>
                    </a:solidFill>
                  </a:tcPr>
                </a:tc>
                <a:tc>
                  <a:txBody>
                    <a:bodyPr/>
                    <a:lstStyle/>
                    <a:p>
                      <a:r>
                        <a:rPr lang="en-US" sz="1000" dirty="0">
                          <a:solidFill>
                            <a:schemeClr val="tx1"/>
                          </a:solidFill>
                          <a:latin typeface="Open Sauce One" panose="00000800000000000000"/>
                          <a:ea typeface="Lato"/>
                          <a:cs typeface="Lato"/>
                        </a:rPr>
                        <a:t>Id</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C1F2"/>
                    </a:solidFill>
                  </a:tcPr>
                </a:tc>
                <a:tc>
                  <a:txBody>
                    <a:bodyPr/>
                    <a:lstStyle/>
                    <a:p>
                      <a:r>
                        <a:rPr lang="en-US" sz="1000" dirty="0">
                          <a:solidFill>
                            <a:schemeClr val="tx1"/>
                          </a:solidFill>
                          <a:latin typeface="Open Sauce One" panose="00000800000000000000"/>
                          <a:ea typeface="Lato"/>
                          <a:cs typeface="Lato"/>
                        </a:rPr>
                        <a:t>Description</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C1F2"/>
                    </a:solidFill>
                  </a:tcPr>
                </a:tc>
                <a:tc>
                  <a:txBody>
                    <a:bodyPr/>
                    <a:lstStyle/>
                    <a:p>
                      <a:r>
                        <a:rPr lang="en-US" sz="1000">
                          <a:solidFill>
                            <a:schemeClr val="tx1"/>
                          </a:solidFill>
                          <a:latin typeface="Open Sauce One" panose="00000800000000000000"/>
                          <a:ea typeface="Lato"/>
                          <a:cs typeface="Lato"/>
                        </a:rPr>
                        <a:t>Priority</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C1F2"/>
                    </a:solidFill>
                  </a:tcPr>
                </a:tc>
                <a:tc>
                  <a:txBody>
                    <a:bodyPr/>
                    <a:lstStyle/>
                    <a:p>
                      <a:r>
                        <a:rPr lang="en-US" sz="1000">
                          <a:solidFill>
                            <a:schemeClr val="tx1"/>
                          </a:solidFill>
                          <a:latin typeface="Open Sauce One" panose="00000800000000000000"/>
                          <a:ea typeface="Lato"/>
                          <a:cs typeface="Lato"/>
                        </a:rPr>
                        <a:t>Action Id</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C1F2"/>
                    </a:solidFill>
                  </a:tcPr>
                </a:tc>
                <a:tc>
                  <a:txBody>
                    <a:bodyPr/>
                    <a:lstStyle/>
                    <a:p>
                      <a:r>
                        <a:rPr lang="en-US" sz="1000" dirty="0">
                          <a:solidFill>
                            <a:schemeClr val="tx1"/>
                          </a:solidFill>
                          <a:latin typeface="Open Sauce One" panose="00000800000000000000"/>
                          <a:ea typeface="Lato"/>
                          <a:cs typeface="Lato"/>
                        </a:rPr>
                        <a:t>Action Description</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C1F2"/>
                    </a:solidFill>
                  </a:tcPr>
                </a:tc>
                <a:tc>
                  <a:txBody>
                    <a:bodyPr/>
                    <a:lstStyle/>
                    <a:p>
                      <a:r>
                        <a:rPr lang="en-US" sz="1000" dirty="0">
                          <a:solidFill>
                            <a:schemeClr val="tx1"/>
                          </a:solidFill>
                          <a:latin typeface="Open Sauce One" panose="00000800000000000000"/>
                          <a:ea typeface="Lato"/>
                          <a:cs typeface="Lato"/>
                        </a:rPr>
                        <a:t>Action Responsible</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C1F2"/>
                    </a:solidFill>
                  </a:tcPr>
                </a:tc>
                <a:tc>
                  <a:txBody>
                    <a:bodyPr/>
                    <a:lstStyle/>
                    <a:p>
                      <a:r>
                        <a:rPr lang="en-US" sz="1000" dirty="0">
                          <a:solidFill>
                            <a:schemeClr val="tx1"/>
                          </a:solidFill>
                          <a:latin typeface="Open Sauce One" panose="00000800000000000000"/>
                          <a:ea typeface="Lato"/>
                          <a:cs typeface="Lato"/>
                        </a:rPr>
                        <a:t>Action Status</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C1F2"/>
                    </a:solidFill>
                  </a:tcPr>
                </a:tc>
                <a:extLst>
                  <a:ext uri="{0D108BD9-81ED-4DB2-BD59-A6C34878D82A}">
                    <a16:rowId xmlns:a16="http://schemas.microsoft.com/office/drawing/2014/main" val="1776493418"/>
                  </a:ext>
                </a:extLst>
              </a:tr>
              <a:tr h="344753">
                <a:tc>
                  <a:txBody>
                    <a:bodyPr/>
                    <a:lstStyle/>
                    <a:p>
                      <a:pPr algn="l" fontAlgn="ctr"/>
                      <a:r>
                        <a:rPr lang="en-US" sz="800" b="0" i="0" u="none" strike="noStrike">
                          <a:solidFill>
                            <a:srgbClr val="000000"/>
                          </a:solidFill>
                          <a:effectLst/>
                          <a:latin typeface="Open Sauce One" panose="00000800000000000000"/>
                        </a:rPr>
                        <a:t>In Response</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pril 13,</a:t>
                      </a:r>
                    </a:p>
                    <a:p>
                      <a:pPr algn="l" fontAlgn="ctr"/>
                      <a:r>
                        <a:rPr lang="en-US" sz="800" b="0" i="0" u="none" strike="noStrike">
                          <a:solidFill>
                            <a:srgbClr val="000000"/>
                          </a:solidFill>
                          <a:effectLst/>
                          <a:latin typeface="Open Sauce One" panose="00000800000000000000"/>
                        </a:rPr>
                        <a:t> 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R00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Union Bargaining may lead to timeline constraint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P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024</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dirty="0">
                          <a:solidFill>
                            <a:srgbClr val="000000"/>
                          </a:solidFill>
                          <a:effectLst/>
                          <a:latin typeface="Open Sauce One" panose="00000800000000000000"/>
                        </a:rPr>
                        <a:t>Manage Union's expectation by clarifying it is just a tech change along with an early communication</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Richard W.</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In Progr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917699"/>
                  </a:ext>
                </a:extLst>
              </a:tr>
              <a:tr h="344753">
                <a:tc>
                  <a:txBody>
                    <a:bodyPr/>
                    <a:lstStyle/>
                    <a:p>
                      <a:pPr algn="l" fontAlgn="ctr"/>
                      <a:r>
                        <a:rPr lang="en-US" sz="800" b="0" i="0" u="none" strike="noStrike">
                          <a:solidFill>
                            <a:srgbClr val="000000"/>
                          </a:solidFill>
                          <a:effectLst/>
                          <a:latin typeface="Open Sauce One" panose="00000800000000000000"/>
                        </a:rPr>
                        <a:t>In Response</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pril 13,</a:t>
                      </a:r>
                    </a:p>
                    <a:p>
                      <a:pPr algn="l" fontAlgn="ctr"/>
                      <a:r>
                        <a:rPr lang="en-US" sz="800" b="0" i="0" u="none" strike="noStrike">
                          <a:solidFill>
                            <a:srgbClr val="000000"/>
                          </a:solidFill>
                          <a:effectLst/>
                          <a:latin typeface="Open Sauce One" panose="00000800000000000000"/>
                        </a:rPr>
                        <a:t>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R005</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OCR engine may lead to poor document processing quality in cases of bad scan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P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011</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Ensure documents have good scan quality</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Richard W.</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Closed</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4414768"/>
                  </a:ext>
                </a:extLst>
              </a:tr>
              <a:tr h="172376">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endParaRPr lang="en-US" sz="800" b="0" i="0" u="none" strike="noStrike">
                        <a:solidFill>
                          <a:srgbClr val="37385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012</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Implementation of validation and derivation rule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Jorge C.</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In Progr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5975530"/>
                  </a:ext>
                </a:extLst>
              </a:tr>
              <a:tr h="172376">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endParaRPr lang="en-US" sz="800" b="0" i="0" u="none" strike="noStrike">
                        <a:solidFill>
                          <a:srgbClr val="37385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01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Provide a list of mitigation options during implementation phase</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Jorge C.</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Open</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5371041"/>
                  </a:ext>
                </a:extLst>
              </a:tr>
              <a:tr h="172376">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endParaRPr lang="en-US" sz="800" b="0" i="0" u="none" strike="noStrike">
                        <a:solidFill>
                          <a:srgbClr val="37385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010</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Use Google Vision OCR instead of ABBY.</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Jorge C.</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Closed</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929735"/>
                  </a:ext>
                </a:extLst>
              </a:tr>
              <a:tr h="344753">
                <a:tc>
                  <a:txBody>
                    <a:bodyPr/>
                    <a:lstStyle/>
                    <a:p>
                      <a:pPr algn="l" fontAlgn="ctr"/>
                      <a:r>
                        <a:rPr lang="en-US" sz="800" b="0" i="0" u="none" strike="noStrike">
                          <a:solidFill>
                            <a:srgbClr val="000000"/>
                          </a:solidFill>
                          <a:effectLst/>
                          <a:latin typeface="Open Sauce One" panose="00000800000000000000"/>
                        </a:rPr>
                        <a:t>In Response</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pril 13, </a:t>
                      </a:r>
                    </a:p>
                    <a:p>
                      <a:pPr algn="l" fontAlgn="ctr"/>
                      <a:r>
                        <a:rPr lang="en-US" sz="800" b="0" i="0" u="none" strike="noStrike">
                          <a:solidFill>
                            <a:srgbClr val="000000"/>
                          </a:solidFill>
                          <a:effectLst/>
                          <a:latin typeface="Open Sauce One" panose="00000800000000000000"/>
                        </a:rPr>
                        <a:t>2023</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R006</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Data may flow out of U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P2</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014</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Run Pilot Project in US Cluster infrastructure</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Jorge C.</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In Progr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4985887"/>
                  </a:ext>
                </a:extLst>
              </a:tr>
              <a:tr h="172376">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endParaRPr lang="en-US" sz="800" b="0" i="0" u="none" strike="noStrike">
                        <a:solidFill>
                          <a:srgbClr val="37385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015</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Limit data acc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Jorge C.</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In Progress</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0697081"/>
                  </a:ext>
                </a:extLst>
              </a:tr>
              <a:tr h="172376">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endParaRPr lang="en-US" sz="800" b="0" i="0" u="none" strike="noStrike">
                        <a:solidFill>
                          <a:srgbClr val="37385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A016</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Perform risk assessment</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Jorge C.</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Open</a:t>
                      </a:r>
                    </a:p>
                  </a:txBody>
                  <a:tcPr marL="0"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9221623"/>
                  </a:ext>
                </a:extLst>
              </a:tr>
              <a:tr h="172375">
                <a:tc>
                  <a:txBody>
                    <a:bodyPr/>
                    <a:lstStyle/>
                    <a:p>
                      <a:pPr lvl="0" algn="l">
                        <a:buNone/>
                      </a:pPr>
                      <a:r>
                        <a:rPr lang="en-US" sz="800" b="0" i="0" u="none" strike="noStrike" kern="1200">
                          <a:solidFill>
                            <a:srgbClr val="000000"/>
                          </a:solidFill>
                          <a:effectLst/>
                          <a:latin typeface="Open Sauce One" panose="00000800000000000000"/>
                          <a:ea typeface="+mn-ea"/>
                          <a:cs typeface="+mn-cs"/>
                        </a:rPr>
                        <a:t>In Response</a:t>
                      </a:r>
                    </a:p>
                  </a:txBody>
                  <a:tcPr marL="0" marR="0" marT="0" marB="0" anchor="ctr">
                    <a:lnL w="3174">
                      <a:solidFill>
                        <a:schemeClr val="accent5">
                          <a:lumMod val="60000"/>
                          <a:lumOff val="40000"/>
                        </a:schemeClr>
                      </a:solidFill>
                    </a:lnL>
                    <a:lnR w="3174"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r>
                        <a:rPr lang="en-US" sz="800" b="0" i="0" u="none" strike="noStrike" kern="1200">
                          <a:solidFill>
                            <a:srgbClr val="000000"/>
                          </a:solidFill>
                          <a:effectLst/>
                          <a:latin typeface="Open Sauce One" panose="00000800000000000000"/>
                          <a:ea typeface="+mn-ea"/>
                          <a:cs typeface="+mn-cs"/>
                        </a:rPr>
                        <a:t>November 22, 2023</a:t>
                      </a:r>
                    </a:p>
                  </a:txBody>
                  <a:tcPr marL="0" marR="0" marT="0" marB="0" anchor="ctr">
                    <a:lnL w="3174" cap="flat" cmpd="sng" algn="ctr">
                      <a:solidFill>
                        <a:schemeClr val="accent5">
                          <a:lumMod val="60000"/>
                          <a:lumOff val="40000"/>
                        </a:schemeClr>
                      </a:solidFill>
                      <a:prstDash val="solid"/>
                      <a:round/>
                      <a:headEnd type="none" w="med" len="med"/>
                      <a:tailEnd type="none" w="med" len="med"/>
                    </a:lnL>
                    <a:lnR w="3174"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r>
                        <a:rPr lang="en-US" sz="800" b="0" i="0" u="none" strike="noStrike" kern="1200">
                          <a:solidFill>
                            <a:srgbClr val="000000"/>
                          </a:solidFill>
                          <a:effectLst/>
                          <a:latin typeface="Open Sauce One" panose="00000800000000000000"/>
                          <a:ea typeface="+mn-ea"/>
                          <a:cs typeface="+mn-cs"/>
                        </a:rPr>
                        <a:t>R014</a:t>
                      </a:r>
                    </a:p>
                  </a:txBody>
                  <a:tcPr marL="0" marR="0" marT="0" marB="0" anchor="ctr">
                    <a:lnL w="3174" cap="flat" cmpd="sng" algn="ctr">
                      <a:solidFill>
                        <a:schemeClr val="accent5">
                          <a:lumMod val="60000"/>
                          <a:lumOff val="40000"/>
                        </a:schemeClr>
                      </a:solidFill>
                      <a:prstDash val="solid"/>
                      <a:round/>
                      <a:headEnd type="none" w="med" len="med"/>
                      <a:tailEnd type="none" w="med" len="med"/>
                    </a:lnL>
                    <a:lnR w="3174"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r>
                        <a:rPr lang="en-US" sz="800" b="0" i="0" u="none" strike="noStrike" kern="1200">
                          <a:solidFill>
                            <a:srgbClr val="000000"/>
                          </a:solidFill>
                          <a:effectLst/>
                          <a:latin typeface="Open Sauce One" panose="00000800000000000000"/>
                          <a:ea typeface="+mn-ea"/>
                          <a:cs typeface="+mn-cs"/>
                        </a:rPr>
                        <a:t> Delaying UAT for January might impact the Go Live date planned for Feb</a:t>
                      </a:r>
                    </a:p>
                  </a:txBody>
                  <a:tcPr marL="0" marR="0" marT="0" marB="0" anchor="ctr">
                    <a:lnL w="3174" cap="flat" cmpd="sng" algn="ctr">
                      <a:solidFill>
                        <a:schemeClr val="accent5">
                          <a:lumMod val="60000"/>
                          <a:lumOff val="40000"/>
                        </a:schemeClr>
                      </a:solidFill>
                      <a:prstDash val="solid"/>
                      <a:round/>
                      <a:headEnd type="none" w="med" len="med"/>
                      <a:tailEnd type="none" w="med" len="med"/>
                    </a:lnL>
                    <a:lnR w="3174"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r>
                        <a:rPr lang="en-US" sz="800" b="0" i="0" u="none" strike="noStrike" kern="1200">
                          <a:solidFill>
                            <a:srgbClr val="000000"/>
                          </a:solidFill>
                          <a:effectLst/>
                          <a:latin typeface="Open Sauce One" panose="00000800000000000000"/>
                          <a:ea typeface="+mn-ea"/>
                          <a:cs typeface="+mn-cs"/>
                        </a:rPr>
                        <a:t>P2</a:t>
                      </a:r>
                    </a:p>
                  </a:txBody>
                  <a:tcPr marL="0" marR="0" marT="0" marB="0" anchor="ctr">
                    <a:lnL w="3174" cap="flat" cmpd="sng" algn="ctr">
                      <a:solidFill>
                        <a:schemeClr val="accent5">
                          <a:lumMod val="60000"/>
                          <a:lumOff val="40000"/>
                        </a:schemeClr>
                      </a:solidFill>
                      <a:prstDash val="solid"/>
                      <a:round/>
                      <a:headEnd type="none" w="med" len="med"/>
                      <a:tailEnd type="none" w="med" len="med"/>
                    </a:lnL>
                    <a:lnR w="3174"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a:solidFill>
                            <a:srgbClr val="000000"/>
                          </a:solidFill>
                          <a:effectLst/>
                          <a:latin typeface="Open Sauce One" panose="00000800000000000000"/>
                          <a:ea typeface="+mn-ea"/>
                          <a:cs typeface="+mn-cs"/>
                        </a:rPr>
                        <a:t>A124</a:t>
                      </a:r>
                    </a:p>
                  </a:txBody>
                  <a:tcPr marL="6350" marR="6350" marT="6350" anchor="ctr">
                    <a:lnL w="3174" cap="flat" cmpd="sng" algn="ctr">
                      <a:solidFill>
                        <a:schemeClr val="accent5">
                          <a:lumMod val="60000"/>
                          <a:lumOff val="40000"/>
                        </a:schemeClr>
                      </a:solidFill>
                      <a:prstDash val="solid"/>
                      <a:round/>
                      <a:headEnd type="none" w="med" len="med"/>
                      <a:tailEnd type="none" w="med" len="med"/>
                    </a:lnL>
                    <a:lnR w="3174"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a:solidFill>
                            <a:srgbClr val="000000"/>
                          </a:solidFill>
                          <a:effectLst/>
                          <a:latin typeface="Open Sauce One" panose="00000800000000000000"/>
                          <a:ea typeface="+mn-ea"/>
                          <a:cs typeface="+mn-cs"/>
                        </a:rPr>
                        <a:t>Ensure testing data, test environment and testing pre-conditions are setup</a:t>
                      </a:r>
                    </a:p>
                  </a:txBody>
                  <a:tcPr marL="6350" marR="6350" marT="6350" anchor="ctr">
                    <a:lnL w="3174" cap="flat" cmpd="sng" algn="ctr">
                      <a:solidFill>
                        <a:schemeClr val="accent5">
                          <a:lumMod val="60000"/>
                          <a:lumOff val="40000"/>
                        </a:schemeClr>
                      </a:solidFill>
                      <a:prstDash val="solid"/>
                      <a:round/>
                      <a:headEnd type="none" w="med" len="med"/>
                      <a:tailEnd type="none" w="med" len="med"/>
                    </a:lnL>
                    <a:lnR w="3174"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dirty="0">
                          <a:solidFill>
                            <a:srgbClr val="000000"/>
                          </a:solidFill>
                          <a:effectLst/>
                          <a:latin typeface="Open Sauce One" panose="00000800000000000000"/>
                          <a:ea typeface="+mn-ea"/>
                          <a:cs typeface="+mn-cs"/>
                        </a:rPr>
                        <a:t>Edward, Alexus</a:t>
                      </a:r>
                    </a:p>
                  </a:txBody>
                  <a:tcPr marL="6350" marR="6350" marT="6350" anchor="ctr">
                    <a:lnL w="3174" cap="flat" cmpd="sng" algn="ctr">
                      <a:solidFill>
                        <a:schemeClr val="accent5">
                          <a:lumMod val="60000"/>
                          <a:lumOff val="40000"/>
                        </a:schemeClr>
                      </a:solidFill>
                      <a:prstDash val="solid"/>
                      <a:round/>
                      <a:headEnd type="none" w="med" len="med"/>
                      <a:tailEnd type="none" w="med" len="med"/>
                    </a:lnL>
                    <a:lnR w="3174"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a:solidFill>
                            <a:srgbClr val="000000"/>
                          </a:solidFill>
                          <a:effectLst/>
                          <a:latin typeface="Open Sauce One" panose="00000800000000000000"/>
                          <a:ea typeface="+mn-ea"/>
                          <a:cs typeface="+mn-cs"/>
                        </a:rPr>
                        <a:t>In Progress</a:t>
                      </a:r>
                    </a:p>
                  </a:txBody>
                  <a:tcPr marL="6350" marR="6350" marT="6350" anchor="ctr">
                    <a:lnL w="3174" cap="flat" cmpd="sng" algn="ctr">
                      <a:solidFill>
                        <a:schemeClr val="accent5">
                          <a:lumMod val="60000"/>
                          <a:lumOff val="40000"/>
                        </a:schemeClr>
                      </a:solidFill>
                      <a:prstDash val="solid"/>
                      <a:round/>
                      <a:headEnd type="none" w="med" len="med"/>
                      <a:tailEnd type="none" w="med" len="med"/>
                    </a:lnL>
                    <a:lnR w="3174">
                      <a:solidFill>
                        <a:schemeClr val="accent5">
                          <a:lumMod val="60000"/>
                          <a:lumOff val="40000"/>
                        </a:schemeClr>
                      </a:solidFill>
                    </a:lnR>
                    <a:lnT w="3175" cap="flat" cmpd="sng" algn="ctr">
                      <a:solidFill>
                        <a:schemeClr val="accent5">
                          <a:lumMod val="60000"/>
                          <a:lumOff val="40000"/>
                        </a:schemeClr>
                      </a:solidFill>
                      <a:prstDash val="solid"/>
                      <a:round/>
                      <a:headEnd type="none" w="med" len="med"/>
                      <a:tailEnd type="none" w="med" len="med"/>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97398481"/>
                  </a:ext>
                </a:extLst>
              </a:tr>
              <a:tr h="172375">
                <a:tc>
                  <a:txBody>
                    <a:bodyPr/>
                    <a:lstStyle/>
                    <a:p>
                      <a:pPr lvl="0" algn="l">
                        <a:buNone/>
                      </a:pPr>
                      <a:endParaRPr lang="en-US" sz="800" b="0" i="0" u="none" strike="noStrike">
                        <a:solidFill>
                          <a:srgbClr val="000000"/>
                        </a:solidFill>
                        <a:effectLst/>
                        <a:latin typeface="Open Sauce One" panose="00000800000000000000"/>
                      </a:endParaRPr>
                    </a:p>
                  </a:txBody>
                  <a:tcPr marL="0" marR="0" marT="0" marB="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endParaRPr lang="en-US" sz="800" b="0" i="0" u="none" strike="noStrike">
                        <a:solidFill>
                          <a:srgbClr val="000000"/>
                        </a:solidFill>
                        <a:effectLst/>
                        <a:latin typeface="Open Sauce One" panose="00000800000000000000"/>
                      </a:endParaRPr>
                    </a:p>
                  </a:txBody>
                  <a:tcPr marL="0" marR="0" marT="0" marB="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endParaRPr lang="en-US" sz="800" b="0" i="0" u="none" strike="noStrike">
                        <a:solidFill>
                          <a:srgbClr val="000000"/>
                        </a:solidFill>
                        <a:effectLst/>
                        <a:latin typeface="Open Sauce One" panose="00000800000000000000"/>
                      </a:endParaRPr>
                    </a:p>
                  </a:txBody>
                  <a:tcPr marL="0" marR="0" marT="0" marB="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endParaRPr lang="en-US" sz="800" b="0" i="0" u="none" strike="noStrike">
                        <a:solidFill>
                          <a:srgbClr val="373850"/>
                        </a:solidFill>
                        <a:effectLst/>
                        <a:latin typeface="Open Sauce One" panose="00000800000000000000"/>
                      </a:endParaRPr>
                    </a:p>
                  </a:txBody>
                  <a:tcPr marL="0" marR="0" marT="0" marB="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endParaRPr lang="en-US" sz="800" b="0" i="0" u="none" strike="noStrike">
                        <a:solidFill>
                          <a:srgbClr val="000000"/>
                        </a:solidFill>
                        <a:effectLst/>
                        <a:latin typeface="Open Sauce One" panose="00000800000000000000"/>
                      </a:endParaRPr>
                    </a:p>
                  </a:txBody>
                  <a:tcPr marL="0" marR="0" marT="0" marB="0" anchor="ctr">
                    <a:lnL w="3174">
                      <a:solidFill>
                        <a:schemeClr val="accent5">
                          <a:lumMod val="60000"/>
                          <a:lumOff val="40000"/>
                        </a:schemeClr>
                      </a:solidFill>
                    </a:lnL>
                    <a:lnR w="3174" cap="flat" cmpd="sng" algn="ctr">
                      <a:solidFill>
                        <a:schemeClr val="accent5">
                          <a:lumMod val="60000"/>
                          <a:lumOff val="40000"/>
                        </a:schemeClr>
                      </a:solidFill>
                      <a:prstDash val="solid"/>
                      <a:round/>
                      <a:headEnd type="none" w="med" len="med"/>
                      <a:tailEnd type="none" w="med" len="med"/>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a:solidFill>
                            <a:srgbClr val="000000"/>
                          </a:solidFill>
                          <a:effectLst/>
                          <a:latin typeface="Open Sauce One" panose="00000800000000000000"/>
                          <a:ea typeface="+mn-ea"/>
                          <a:cs typeface="+mn-cs"/>
                        </a:rPr>
                        <a:t>A125</a:t>
                      </a:r>
                    </a:p>
                  </a:txBody>
                  <a:tcPr marL="6350" marR="6350" marT="635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a:solidFill>
                            <a:srgbClr val="000000"/>
                          </a:solidFill>
                          <a:effectLst/>
                          <a:latin typeface="Open Sauce One" panose="00000800000000000000"/>
                          <a:ea typeface="+mn-ea"/>
                          <a:cs typeface="+mn-cs"/>
                        </a:rPr>
                        <a:t>Ensure tests have been uploaded to Jira X-RAY</a:t>
                      </a:r>
                    </a:p>
                  </a:txBody>
                  <a:tcPr marL="6350" marR="6350" marT="635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a:solidFill>
                            <a:srgbClr val="000000"/>
                          </a:solidFill>
                          <a:effectLst/>
                          <a:latin typeface="Open Sauce One" panose="00000800000000000000"/>
                          <a:ea typeface="+mn-ea"/>
                          <a:cs typeface="+mn-cs"/>
                        </a:rPr>
                        <a:t>Alexus</a:t>
                      </a:r>
                    </a:p>
                  </a:txBody>
                  <a:tcPr marL="6350" marR="6350" marT="635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a:solidFill>
                            <a:srgbClr val="000000"/>
                          </a:solidFill>
                          <a:effectLst/>
                          <a:latin typeface="Open Sauce One" panose="00000800000000000000"/>
                          <a:ea typeface="+mn-ea"/>
                          <a:cs typeface="+mn-cs"/>
                        </a:rPr>
                        <a:t>Open</a:t>
                      </a:r>
                    </a:p>
                  </a:txBody>
                  <a:tcPr marL="6350" marR="6350" marT="635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865451603"/>
                  </a:ext>
                </a:extLst>
              </a:tr>
              <a:tr h="172375">
                <a:tc>
                  <a:txBody>
                    <a:bodyPr/>
                    <a:lstStyle/>
                    <a:p>
                      <a:pPr lvl="0" algn="l">
                        <a:buNone/>
                      </a:pPr>
                      <a:endParaRPr lang="en-US" sz="800" b="0" i="0" u="none" strike="noStrike">
                        <a:solidFill>
                          <a:srgbClr val="000000"/>
                        </a:solidFill>
                        <a:effectLst/>
                        <a:latin typeface="Open Sauce One" panose="00000800000000000000"/>
                      </a:endParaRPr>
                    </a:p>
                  </a:txBody>
                  <a:tcPr marL="0" marR="0" marT="0" marB="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endParaRPr lang="en-US" sz="800" b="0" i="0" u="none" strike="noStrike">
                        <a:solidFill>
                          <a:srgbClr val="000000"/>
                        </a:solidFill>
                        <a:effectLst/>
                        <a:latin typeface="Open Sauce One" panose="00000800000000000000"/>
                      </a:endParaRPr>
                    </a:p>
                  </a:txBody>
                  <a:tcPr marL="0" marR="0" marT="0" marB="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endParaRPr lang="en-US" sz="800" b="0" i="0" u="none" strike="noStrike">
                        <a:solidFill>
                          <a:srgbClr val="000000"/>
                        </a:solidFill>
                        <a:effectLst/>
                        <a:latin typeface="Open Sauce One" panose="00000800000000000000"/>
                      </a:endParaRPr>
                    </a:p>
                  </a:txBody>
                  <a:tcPr marL="0" marR="0" marT="0" marB="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endParaRPr lang="en-US" sz="800" b="0" i="0" u="none" strike="noStrike">
                        <a:solidFill>
                          <a:srgbClr val="373850"/>
                        </a:solidFill>
                        <a:effectLst/>
                        <a:latin typeface="Open Sauce One" panose="00000800000000000000"/>
                      </a:endParaRPr>
                    </a:p>
                  </a:txBody>
                  <a:tcPr marL="0" marR="0" marT="0" marB="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lvl="0" algn="l">
                        <a:buNone/>
                      </a:pPr>
                      <a:endParaRPr lang="en-US" sz="800" b="0" i="0" u="none" strike="noStrike">
                        <a:solidFill>
                          <a:srgbClr val="000000"/>
                        </a:solidFill>
                        <a:effectLst/>
                        <a:latin typeface="Open Sauce One" panose="00000800000000000000"/>
                      </a:endParaRPr>
                    </a:p>
                  </a:txBody>
                  <a:tcPr marL="0" marR="0" marT="0" marB="0" anchor="ctr">
                    <a:lnL w="3174">
                      <a:solidFill>
                        <a:schemeClr val="accent5">
                          <a:lumMod val="60000"/>
                          <a:lumOff val="40000"/>
                        </a:schemeClr>
                      </a:solidFill>
                    </a:lnL>
                    <a:lnR w="3174" cap="flat" cmpd="sng" algn="ctr">
                      <a:solidFill>
                        <a:schemeClr val="accent5">
                          <a:lumMod val="60000"/>
                          <a:lumOff val="40000"/>
                        </a:schemeClr>
                      </a:solidFill>
                      <a:prstDash val="solid"/>
                      <a:round/>
                      <a:headEnd type="none" w="med" len="med"/>
                      <a:tailEnd type="none" w="med" len="med"/>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dirty="0">
                          <a:solidFill>
                            <a:srgbClr val="000000"/>
                          </a:solidFill>
                          <a:effectLst/>
                          <a:latin typeface="Open Sauce One" panose="00000800000000000000"/>
                          <a:ea typeface="+mn-ea"/>
                          <a:cs typeface="+mn-cs"/>
                        </a:rPr>
                        <a:t>A126</a:t>
                      </a:r>
                    </a:p>
                  </a:txBody>
                  <a:tcPr marL="6350" marR="6350" marT="635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dirty="0">
                          <a:solidFill>
                            <a:srgbClr val="000000"/>
                          </a:solidFill>
                          <a:effectLst/>
                          <a:latin typeface="Open Sauce One" panose="00000800000000000000"/>
                          <a:ea typeface="+mn-ea"/>
                          <a:cs typeface="+mn-cs"/>
                        </a:rPr>
                        <a:t>Ensure tests have been reviewed by the testers and all doubts are raised and clarified during CW48 </a:t>
                      </a:r>
                    </a:p>
                  </a:txBody>
                  <a:tcPr marL="6350" marR="6350" marT="635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a:solidFill>
                            <a:srgbClr val="000000"/>
                          </a:solidFill>
                          <a:effectLst/>
                          <a:latin typeface="Open Sauce One" panose="00000800000000000000"/>
                          <a:ea typeface="+mn-ea"/>
                          <a:cs typeface="+mn-cs"/>
                        </a:rPr>
                        <a:t>Edward</a:t>
                      </a:r>
                    </a:p>
                  </a:txBody>
                  <a:tcPr marL="6350" marR="6350" marT="635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tc>
                  <a:txBody>
                    <a:bodyPr/>
                    <a:lstStyle/>
                    <a:p>
                      <a:pPr algn="l" fontAlgn="ctr"/>
                      <a:r>
                        <a:rPr lang="en-US" sz="800" b="0" i="0" u="none" strike="noStrike" kern="1200" dirty="0">
                          <a:solidFill>
                            <a:srgbClr val="000000"/>
                          </a:solidFill>
                          <a:effectLst/>
                          <a:latin typeface="Open Sauce One" panose="00000800000000000000"/>
                          <a:ea typeface="+mn-ea"/>
                          <a:cs typeface="+mn-cs"/>
                        </a:rPr>
                        <a:t>Open</a:t>
                      </a:r>
                    </a:p>
                  </a:txBody>
                  <a:tcPr marL="6350" marR="6350" marT="6350" anchor="ctr">
                    <a:lnL w="3174">
                      <a:solidFill>
                        <a:schemeClr val="accent5">
                          <a:lumMod val="60000"/>
                          <a:lumOff val="40000"/>
                        </a:schemeClr>
                      </a:solidFill>
                    </a:lnL>
                    <a:lnR w="3174">
                      <a:solidFill>
                        <a:schemeClr val="accent5">
                          <a:lumMod val="60000"/>
                          <a:lumOff val="40000"/>
                        </a:schemeClr>
                      </a:solidFill>
                    </a:lnR>
                    <a:lnT w="3174">
                      <a:solidFill>
                        <a:schemeClr val="accent5">
                          <a:lumMod val="60000"/>
                          <a:lumOff val="40000"/>
                        </a:schemeClr>
                      </a:solidFill>
                    </a:lnT>
                    <a:lnB w="3174" cap="flat" cmpd="sng" algn="ctr">
                      <a:solidFill>
                        <a:schemeClr val="accent5">
                          <a:lumMod val="60000"/>
                          <a:lumOff val="4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1249195619"/>
                  </a:ext>
                </a:extLst>
              </a:tr>
            </a:tbl>
          </a:graphicData>
        </a:graphic>
      </p:graphicFrame>
      <p:sp>
        <p:nvSpPr>
          <p:cNvPr id="6" name="Rectangle 5">
            <a:extLst>
              <a:ext uri="{FF2B5EF4-FFF2-40B4-BE49-F238E27FC236}">
                <a16:creationId xmlns:a16="http://schemas.microsoft.com/office/drawing/2014/main" id="{5437FA19-F6AE-63E7-6B09-1439AB4C955E}"/>
              </a:ext>
            </a:extLst>
          </p:cNvPr>
          <p:cNvSpPr/>
          <p:nvPr/>
        </p:nvSpPr>
        <p:spPr>
          <a:xfrm>
            <a:off x="9160532" y="6200667"/>
            <a:ext cx="2433907" cy="503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highlight>
                  <a:srgbClr val="FFCCDC"/>
                </a:highlight>
                <a:latin typeface="Open Sauce One" panose="00000800000000000000"/>
                <a:ea typeface="Lato" panose="020F0502020204030203" pitchFamily="34" charset="0"/>
                <a:cs typeface="Lato" panose="020F0502020204030203" pitchFamily="34" charset="0"/>
              </a:rPr>
              <a:t>* Update since last week</a:t>
            </a:r>
            <a:r>
              <a:rPr lang="en-GB" sz="900">
                <a:solidFill>
                  <a:schemeClr val="tx1"/>
                </a:solidFill>
                <a:latin typeface="Open Sauce One" panose="00000800000000000000"/>
                <a:ea typeface="Lato" panose="020F0502020204030203" pitchFamily="34" charset="0"/>
                <a:cs typeface="Lato" panose="020F0502020204030203" pitchFamily="34" charset="0"/>
              </a:rPr>
              <a:t>  </a:t>
            </a:r>
            <a:r>
              <a:rPr lang="en-GB" sz="900">
                <a:solidFill>
                  <a:schemeClr val="tx1"/>
                </a:solidFill>
                <a:highlight>
                  <a:srgbClr val="FFFF00"/>
                </a:highlight>
                <a:latin typeface="Open Sauce One" panose="00000800000000000000"/>
                <a:ea typeface="Lato" panose="020F0502020204030203" pitchFamily="34" charset="0"/>
                <a:cs typeface="Lato" panose="020F0502020204030203" pitchFamily="34" charset="0"/>
              </a:rPr>
              <a:t>Live Update</a:t>
            </a:r>
          </a:p>
        </p:txBody>
      </p:sp>
    </p:spTree>
    <p:extLst>
      <p:ext uri="{BB962C8B-B14F-4D97-AF65-F5344CB8AC3E}">
        <p14:creationId xmlns:p14="http://schemas.microsoft.com/office/powerpoint/2010/main" val="31949760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45117C-1242-379A-6C96-4A910F7FEA69}"/>
              </a:ext>
            </a:extLst>
          </p:cNvPr>
          <p:cNvGraphicFramePr>
            <a:graphicFrameLocks noChangeAspect="1"/>
          </p:cNvGraphicFramePr>
          <p:nvPr>
            <p:custDataLst>
              <p:tags r:id="rId1"/>
            </p:custDataLst>
            <p:extLst>
              <p:ext uri="{D42A27DB-BD31-4B8C-83A1-F6EECF244321}">
                <p14:modId xmlns:p14="http://schemas.microsoft.com/office/powerpoint/2010/main" val="3667755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7945117C-1242-379A-6C96-4A910F7FEA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Icons</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40</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esources</a:t>
            </a:r>
          </a:p>
        </p:txBody>
      </p:sp>
      <p:pic>
        <p:nvPicPr>
          <p:cNvPr id="7" name="Ábra 6">
            <a:extLst>
              <a:ext uri="{FF2B5EF4-FFF2-40B4-BE49-F238E27FC236}">
                <a16:creationId xmlns:a16="http://schemas.microsoft.com/office/drawing/2014/main" id="{79EC1B74-9480-3E90-A6C6-4FA605D3D6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7987" y="5029180"/>
            <a:ext cx="571500" cy="571500"/>
          </a:xfrm>
          <a:prstGeom prst="rect">
            <a:avLst/>
          </a:prstGeom>
        </p:spPr>
      </p:pic>
      <p:pic>
        <p:nvPicPr>
          <p:cNvPr id="9" name="Ábra 8">
            <a:extLst>
              <a:ext uri="{FF2B5EF4-FFF2-40B4-BE49-F238E27FC236}">
                <a16:creationId xmlns:a16="http://schemas.microsoft.com/office/drawing/2014/main" id="{683EFFDF-75FD-364F-F7AB-8495F34C154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24395" y="5029180"/>
            <a:ext cx="571500" cy="571500"/>
          </a:xfrm>
          <a:prstGeom prst="rect">
            <a:avLst/>
          </a:prstGeom>
        </p:spPr>
      </p:pic>
      <p:pic>
        <p:nvPicPr>
          <p:cNvPr id="11" name="Ábra 10">
            <a:extLst>
              <a:ext uri="{FF2B5EF4-FFF2-40B4-BE49-F238E27FC236}">
                <a16:creationId xmlns:a16="http://schemas.microsoft.com/office/drawing/2014/main" id="{DA3CFB26-7861-8A43-D4EC-25524B76AE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40803" y="5029180"/>
            <a:ext cx="571500" cy="571500"/>
          </a:xfrm>
          <a:prstGeom prst="rect">
            <a:avLst/>
          </a:prstGeom>
        </p:spPr>
      </p:pic>
      <p:pic>
        <p:nvPicPr>
          <p:cNvPr id="13" name="Ábra 12">
            <a:extLst>
              <a:ext uri="{FF2B5EF4-FFF2-40B4-BE49-F238E27FC236}">
                <a16:creationId xmlns:a16="http://schemas.microsoft.com/office/drawing/2014/main" id="{AA4241E9-F279-04F6-FB7E-C3E89946E4A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57211" y="5029180"/>
            <a:ext cx="571500" cy="571500"/>
          </a:xfrm>
          <a:prstGeom prst="rect">
            <a:avLst/>
          </a:prstGeom>
        </p:spPr>
      </p:pic>
      <p:pic>
        <p:nvPicPr>
          <p:cNvPr id="15" name="Ábra 14">
            <a:extLst>
              <a:ext uri="{FF2B5EF4-FFF2-40B4-BE49-F238E27FC236}">
                <a16:creationId xmlns:a16="http://schemas.microsoft.com/office/drawing/2014/main" id="{3C131AAF-D667-947A-EE07-BBD4A078E55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73619" y="5029180"/>
            <a:ext cx="571500" cy="571500"/>
          </a:xfrm>
          <a:prstGeom prst="rect">
            <a:avLst/>
          </a:prstGeom>
        </p:spPr>
      </p:pic>
      <p:pic>
        <p:nvPicPr>
          <p:cNvPr id="17" name="Ábra 16">
            <a:extLst>
              <a:ext uri="{FF2B5EF4-FFF2-40B4-BE49-F238E27FC236}">
                <a16:creationId xmlns:a16="http://schemas.microsoft.com/office/drawing/2014/main" id="{DB8E1C00-693B-1865-C7D2-E09EB3EFAB7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90027" y="5029180"/>
            <a:ext cx="571500" cy="571500"/>
          </a:xfrm>
          <a:prstGeom prst="rect">
            <a:avLst/>
          </a:prstGeom>
        </p:spPr>
      </p:pic>
      <p:pic>
        <p:nvPicPr>
          <p:cNvPr id="19" name="Ábra 18">
            <a:extLst>
              <a:ext uri="{FF2B5EF4-FFF2-40B4-BE49-F238E27FC236}">
                <a16:creationId xmlns:a16="http://schemas.microsoft.com/office/drawing/2014/main" id="{F5718B01-0338-4EED-6067-683ABEBA0B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306435" y="5029180"/>
            <a:ext cx="571500" cy="571500"/>
          </a:xfrm>
          <a:prstGeom prst="rect">
            <a:avLst/>
          </a:prstGeom>
        </p:spPr>
      </p:pic>
      <p:pic>
        <p:nvPicPr>
          <p:cNvPr id="21" name="Ábra 20">
            <a:extLst>
              <a:ext uri="{FF2B5EF4-FFF2-40B4-BE49-F238E27FC236}">
                <a16:creationId xmlns:a16="http://schemas.microsoft.com/office/drawing/2014/main" id="{206F769E-97E9-C6D9-D6ED-4B7826070B3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122843" y="5029180"/>
            <a:ext cx="571500" cy="571500"/>
          </a:xfrm>
          <a:prstGeom prst="rect">
            <a:avLst/>
          </a:prstGeom>
        </p:spPr>
      </p:pic>
      <p:pic>
        <p:nvPicPr>
          <p:cNvPr id="23" name="Ábra 22">
            <a:extLst>
              <a:ext uri="{FF2B5EF4-FFF2-40B4-BE49-F238E27FC236}">
                <a16:creationId xmlns:a16="http://schemas.microsoft.com/office/drawing/2014/main" id="{4E3B1A4F-2D5D-218E-B5B0-7FDF1FFD582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939251" y="5029180"/>
            <a:ext cx="571500" cy="571500"/>
          </a:xfrm>
          <a:prstGeom prst="rect">
            <a:avLst/>
          </a:prstGeom>
        </p:spPr>
      </p:pic>
      <p:pic>
        <p:nvPicPr>
          <p:cNvPr id="25" name="Ábra 24">
            <a:extLst>
              <a:ext uri="{FF2B5EF4-FFF2-40B4-BE49-F238E27FC236}">
                <a16:creationId xmlns:a16="http://schemas.microsoft.com/office/drawing/2014/main" id="{AC2BF930-8012-BC93-6DF5-9A8CEBC8AAB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755659" y="5029180"/>
            <a:ext cx="571500" cy="571500"/>
          </a:xfrm>
          <a:prstGeom prst="rect">
            <a:avLst/>
          </a:prstGeom>
        </p:spPr>
      </p:pic>
      <p:pic>
        <p:nvPicPr>
          <p:cNvPr id="27" name="Ábra 26">
            <a:extLst>
              <a:ext uri="{FF2B5EF4-FFF2-40B4-BE49-F238E27FC236}">
                <a16:creationId xmlns:a16="http://schemas.microsoft.com/office/drawing/2014/main" id="{8E5BF390-DCE3-84D2-9DFE-DB5323F8CFF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572067" y="5029180"/>
            <a:ext cx="571500" cy="571500"/>
          </a:xfrm>
          <a:prstGeom prst="rect">
            <a:avLst/>
          </a:prstGeom>
        </p:spPr>
      </p:pic>
      <p:pic>
        <p:nvPicPr>
          <p:cNvPr id="29" name="Ábra 28">
            <a:extLst>
              <a:ext uri="{FF2B5EF4-FFF2-40B4-BE49-F238E27FC236}">
                <a16:creationId xmlns:a16="http://schemas.microsoft.com/office/drawing/2014/main" id="{DD8D4F01-A31A-73CD-641D-9B8097FE60B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04883" y="3901459"/>
            <a:ext cx="571500" cy="571500"/>
          </a:xfrm>
          <a:prstGeom prst="rect">
            <a:avLst/>
          </a:prstGeom>
        </p:spPr>
      </p:pic>
      <p:pic>
        <p:nvPicPr>
          <p:cNvPr id="31" name="Ábra 30">
            <a:extLst>
              <a:ext uri="{FF2B5EF4-FFF2-40B4-BE49-F238E27FC236}">
                <a16:creationId xmlns:a16="http://schemas.microsoft.com/office/drawing/2014/main" id="{CF50AB35-15B7-ADD1-443C-13DEA32F838D}"/>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388475" y="3901459"/>
            <a:ext cx="571500" cy="571500"/>
          </a:xfrm>
          <a:prstGeom prst="rect">
            <a:avLst/>
          </a:prstGeom>
        </p:spPr>
      </p:pic>
      <p:pic>
        <p:nvPicPr>
          <p:cNvPr id="33" name="Ábra 32">
            <a:extLst>
              <a:ext uri="{FF2B5EF4-FFF2-40B4-BE49-F238E27FC236}">
                <a16:creationId xmlns:a16="http://schemas.microsoft.com/office/drawing/2014/main" id="{4CEE597C-4034-742C-02AE-517FF42C7BC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572067" y="3901459"/>
            <a:ext cx="571500" cy="571500"/>
          </a:xfrm>
          <a:prstGeom prst="rect">
            <a:avLst/>
          </a:prstGeom>
        </p:spPr>
      </p:pic>
      <p:pic>
        <p:nvPicPr>
          <p:cNvPr id="35" name="Ábra 34">
            <a:extLst>
              <a:ext uri="{FF2B5EF4-FFF2-40B4-BE49-F238E27FC236}">
                <a16:creationId xmlns:a16="http://schemas.microsoft.com/office/drawing/2014/main" id="{FAE5B718-B5AB-29C6-8FB7-CCEB9838578C}"/>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7755659" y="3901459"/>
            <a:ext cx="571500" cy="571500"/>
          </a:xfrm>
          <a:prstGeom prst="rect">
            <a:avLst/>
          </a:prstGeom>
        </p:spPr>
      </p:pic>
      <p:pic>
        <p:nvPicPr>
          <p:cNvPr id="37" name="Ábra 36">
            <a:extLst>
              <a:ext uri="{FF2B5EF4-FFF2-40B4-BE49-F238E27FC236}">
                <a16:creationId xmlns:a16="http://schemas.microsoft.com/office/drawing/2014/main" id="{036E2496-E52C-4466-2DA7-6942CBC4943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939251" y="3901459"/>
            <a:ext cx="571500" cy="571500"/>
          </a:xfrm>
          <a:prstGeom prst="rect">
            <a:avLst/>
          </a:prstGeom>
        </p:spPr>
      </p:pic>
      <p:pic>
        <p:nvPicPr>
          <p:cNvPr id="39" name="Ábra 38">
            <a:extLst>
              <a:ext uri="{FF2B5EF4-FFF2-40B4-BE49-F238E27FC236}">
                <a16:creationId xmlns:a16="http://schemas.microsoft.com/office/drawing/2014/main" id="{6616DB76-D118-039C-11E0-8EEB601BD97B}"/>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122843" y="3901459"/>
            <a:ext cx="571500" cy="571500"/>
          </a:xfrm>
          <a:prstGeom prst="rect">
            <a:avLst/>
          </a:prstGeom>
        </p:spPr>
      </p:pic>
      <p:pic>
        <p:nvPicPr>
          <p:cNvPr id="41" name="Ábra 40">
            <a:extLst>
              <a:ext uri="{FF2B5EF4-FFF2-40B4-BE49-F238E27FC236}">
                <a16:creationId xmlns:a16="http://schemas.microsoft.com/office/drawing/2014/main" id="{A3F19EFF-84E9-FA6A-62C8-52B4D7CA9751}"/>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5306435" y="3901459"/>
            <a:ext cx="571500" cy="571500"/>
          </a:xfrm>
          <a:prstGeom prst="rect">
            <a:avLst/>
          </a:prstGeom>
        </p:spPr>
      </p:pic>
      <p:pic>
        <p:nvPicPr>
          <p:cNvPr id="43" name="Ábra 42">
            <a:extLst>
              <a:ext uri="{FF2B5EF4-FFF2-40B4-BE49-F238E27FC236}">
                <a16:creationId xmlns:a16="http://schemas.microsoft.com/office/drawing/2014/main" id="{C72A627E-1EA5-8372-428C-D6881D727F9F}"/>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4490027" y="3901459"/>
            <a:ext cx="571500" cy="571500"/>
          </a:xfrm>
          <a:prstGeom prst="rect">
            <a:avLst/>
          </a:prstGeom>
        </p:spPr>
      </p:pic>
      <p:pic>
        <p:nvPicPr>
          <p:cNvPr id="45" name="Ábra 44">
            <a:extLst>
              <a:ext uri="{FF2B5EF4-FFF2-40B4-BE49-F238E27FC236}">
                <a16:creationId xmlns:a16="http://schemas.microsoft.com/office/drawing/2014/main" id="{50CC8834-CD70-6DEE-F643-8CF2153356D4}"/>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9388475" y="5029180"/>
            <a:ext cx="571500" cy="571500"/>
          </a:xfrm>
          <a:prstGeom prst="rect">
            <a:avLst/>
          </a:prstGeom>
        </p:spPr>
      </p:pic>
      <p:pic>
        <p:nvPicPr>
          <p:cNvPr id="47" name="Ábra 46">
            <a:extLst>
              <a:ext uri="{FF2B5EF4-FFF2-40B4-BE49-F238E27FC236}">
                <a16:creationId xmlns:a16="http://schemas.microsoft.com/office/drawing/2014/main" id="{73A04E51-D2C4-D57C-7049-55F957F29BC0}"/>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3673619" y="3901459"/>
            <a:ext cx="571500" cy="571500"/>
          </a:xfrm>
          <a:prstGeom prst="rect">
            <a:avLst/>
          </a:prstGeom>
        </p:spPr>
      </p:pic>
      <p:pic>
        <p:nvPicPr>
          <p:cNvPr id="49" name="Ábra 48">
            <a:extLst>
              <a:ext uri="{FF2B5EF4-FFF2-40B4-BE49-F238E27FC236}">
                <a16:creationId xmlns:a16="http://schemas.microsoft.com/office/drawing/2014/main" id="{A3FF0914-59F3-D4BC-335B-77130D6BAF53}"/>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2857211" y="3901459"/>
            <a:ext cx="571500" cy="571500"/>
          </a:xfrm>
          <a:prstGeom prst="rect">
            <a:avLst/>
          </a:prstGeom>
        </p:spPr>
      </p:pic>
      <p:pic>
        <p:nvPicPr>
          <p:cNvPr id="51" name="Ábra 50">
            <a:extLst>
              <a:ext uri="{FF2B5EF4-FFF2-40B4-BE49-F238E27FC236}">
                <a16:creationId xmlns:a16="http://schemas.microsoft.com/office/drawing/2014/main" id="{E566BFEB-FB54-573D-8504-EF1C6BCF3595}"/>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2040803" y="3901459"/>
            <a:ext cx="571500" cy="571500"/>
          </a:xfrm>
          <a:prstGeom prst="rect">
            <a:avLst/>
          </a:prstGeom>
        </p:spPr>
      </p:pic>
      <p:pic>
        <p:nvPicPr>
          <p:cNvPr id="53" name="Ábra 52">
            <a:extLst>
              <a:ext uri="{FF2B5EF4-FFF2-40B4-BE49-F238E27FC236}">
                <a16:creationId xmlns:a16="http://schemas.microsoft.com/office/drawing/2014/main" id="{96F1F750-41F4-0D40-1402-D4E98DE71A91}"/>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224395" y="3901459"/>
            <a:ext cx="571500" cy="571500"/>
          </a:xfrm>
          <a:prstGeom prst="rect">
            <a:avLst/>
          </a:prstGeom>
        </p:spPr>
      </p:pic>
      <p:pic>
        <p:nvPicPr>
          <p:cNvPr id="55" name="Ábra 54">
            <a:extLst>
              <a:ext uri="{FF2B5EF4-FFF2-40B4-BE49-F238E27FC236}">
                <a16:creationId xmlns:a16="http://schemas.microsoft.com/office/drawing/2014/main" id="{C079EE9E-F8F1-3AE1-A0A7-A9AC1007828D}"/>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407987" y="3901459"/>
            <a:ext cx="571500" cy="571500"/>
          </a:xfrm>
          <a:prstGeom prst="rect">
            <a:avLst/>
          </a:prstGeom>
        </p:spPr>
      </p:pic>
      <p:pic>
        <p:nvPicPr>
          <p:cNvPr id="57" name="Ábra 56">
            <a:extLst>
              <a:ext uri="{FF2B5EF4-FFF2-40B4-BE49-F238E27FC236}">
                <a16:creationId xmlns:a16="http://schemas.microsoft.com/office/drawing/2014/main" id="{42A59D78-BA7D-92CE-B386-556BD059124B}"/>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10204883" y="2773738"/>
            <a:ext cx="571500" cy="571500"/>
          </a:xfrm>
          <a:prstGeom prst="rect">
            <a:avLst/>
          </a:prstGeom>
        </p:spPr>
      </p:pic>
      <p:pic>
        <p:nvPicPr>
          <p:cNvPr id="59" name="Ábra 58">
            <a:extLst>
              <a:ext uri="{FF2B5EF4-FFF2-40B4-BE49-F238E27FC236}">
                <a16:creationId xmlns:a16="http://schemas.microsoft.com/office/drawing/2014/main" id="{8FC90000-FF8A-D48D-AE33-0F96FBD3BED4}"/>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9388475" y="2773738"/>
            <a:ext cx="571500" cy="571500"/>
          </a:xfrm>
          <a:prstGeom prst="rect">
            <a:avLst/>
          </a:prstGeom>
        </p:spPr>
      </p:pic>
      <p:pic>
        <p:nvPicPr>
          <p:cNvPr id="61" name="Ábra 60">
            <a:extLst>
              <a:ext uri="{FF2B5EF4-FFF2-40B4-BE49-F238E27FC236}">
                <a16:creationId xmlns:a16="http://schemas.microsoft.com/office/drawing/2014/main" id="{E09466BB-7D23-762E-0366-E7D689F97CC4}"/>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8572067" y="2773738"/>
            <a:ext cx="571500" cy="571500"/>
          </a:xfrm>
          <a:prstGeom prst="rect">
            <a:avLst/>
          </a:prstGeom>
        </p:spPr>
      </p:pic>
      <p:pic>
        <p:nvPicPr>
          <p:cNvPr id="63" name="Ábra 62">
            <a:extLst>
              <a:ext uri="{FF2B5EF4-FFF2-40B4-BE49-F238E27FC236}">
                <a16:creationId xmlns:a16="http://schemas.microsoft.com/office/drawing/2014/main" id="{094E6850-4DEA-2D0B-8566-11D24E5E43A6}"/>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7755659" y="2773738"/>
            <a:ext cx="571500" cy="571500"/>
          </a:xfrm>
          <a:prstGeom prst="rect">
            <a:avLst/>
          </a:prstGeom>
        </p:spPr>
      </p:pic>
      <p:pic>
        <p:nvPicPr>
          <p:cNvPr id="65" name="Ábra 64">
            <a:extLst>
              <a:ext uri="{FF2B5EF4-FFF2-40B4-BE49-F238E27FC236}">
                <a16:creationId xmlns:a16="http://schemas.microsoft.com/office/drawing/2014/main" id="{7E73A29F-DCC8-2B53-B6ED-816F1F16B189}"/>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6939251" y="2773738"/>
            <a:ext cx="571500" cy="571500"/>
          </a:xfrm>
          <a:prstGeom prst="rect">
            <a:avLst/>
          </a:prstGeom>
        </p:spPr>
      </p:pic>
      <p:pic>
        <p:nvPicPr>
          <p:cNvPr id="67" name="Ábra 66">
            <a:extLst>
              <a:ext uri="{FF2B5EF4-FFF2-40B4-BE49-F238E27FC236}">
                <a16:creationId xmlns:a16="http://schemas.microsoft.com/office/drawing/2014/main" id="{110C7F5F-D70E-027E-978F-697A635E99F3}"/>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6122843" y="2773738"/>
            <a:ext cx="571500" cy="571500"/>
          </a:xfrm>
          <a:prstGeom prst="rect">
            <a:avLst/>
          </a:prstGeom>
        </p:spPr>
      </p:pic>
      <p:pic>
        <p:nvPicPr>
          <p:cNvPr id="69" name="Ábra 68">
            <a:extLst>
              <a:ext uri="{FF2B5EF4-FFF2-40B4-BE49-F238E27FC236}">
                <a16:creationId xmlns:a16="http://schemas.microsoft.com/office/drawing/2014/main" id="{7ACB854A-8BA8-615F-F894-473D1F94E07C}"/>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5306435" y="2773738"/>
            <a:ext cx="571500" cy="571500"/>
          </a:xfrm>
          <a:prstGeom prst="rect">
            <a:avLst/>
          </a:prstGeom>
        </p:spPr>
      </p:pic>
      <p:pic>
        <p:nvPicPr>
          <p:cNvPr id="71" name="Ábra 70">
            <a:extLst>
              <a:ext uri="{FF2B5EF4-FFF2-40B4-BE49-F238E27FC236}">
                <a16:creationId xmlns:a16="http://schemas.microsoft.com/office/drawing/2014/main" id="{1DBB5B99-B44B-FFE5-0032-741ED747CF3F}"/>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4490027" y="2773738"/>
            <a:ext cx="571500" cy="571500"/>
          </a:xfrm>
          <a:prstGeom prst="rect">
            <a:avLst/>
          </a:prstGeom>
        </p:spPr>
      </p:pic>
      <p:pic>
        <p:nvPicPr>
          <p:cNvPr id="73" name="Ábra 72">
            <a:extLst>
              <a:ext uri="{FF2B5EF4-FFF2-40B4-BE49-F238E27FC236}">
                <a16:creationId xmlns:a16="http://schemas.microsoft.com/office/drawing/2014/main" id="{C57F5166-16CB-1A18-4B42-352FDB6D6228}"/>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3673619" y="2773738"/>
            <a:ext cx="571500" cy="571500"/>
          </a:xfrm>
          <a:prstGeom prst="rect">
            <a:avLst/>
          </a:prstGeom>
        </p:spPr>
      </p:pic>
      <p:pic>
        <p:nvPicPr>
          <p:cNvPr id="75" name="Ábra 74">
            <a:extLst>
              <a:ext uri="{FF2B5EF4-FFF2-40B4-BE49-F238E27FC236}">
                <a16:creationId xmlns:a16="http://schemas.microsoft.com/office/drawing/2014/main" id="{44D8165D-8513-43D6-7E96-74A63AA23092}"/>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2857211" y="2773738"/>
            <a:ext cx="571500" cy="571500"/>
          </a:xfrm>
          <a:prstGeom prst="rect">
            <a:avLst/>
          </a:prstGeom>
        </p:spPr>
      </p:pic>
      <p:pic>
        <p:nvPicPr>
          <p:cNvPr id="77" name="Ábra 76">
            <a:extLst>
              <a:ext uri="{FF2B5EF4-FFF2-40B4-BE49-F238E27FC236}">
                <a16:creationId xmlns:a16="http://schemas.microsoft.com/office/drawing/2014/main" id="{3B9AD52E-8D47-6C44-8CB9-5385B9676FFD}"/>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2040803" y="2773738"/>
            <a:ext cx="571500" cy="571500"/>
          </a:xfrm>
          <a:prstGeom prst="rect">
            <a:avLst/>
          </a:prstGeom>
        </p:spPr>
      </p:pic>
      <p:pic>
        <p:nvPicPr>
          <p:cNvPr id="79" name="Ábra 78">
            <a:extLst>
              <a:ext uri="{FF2B5EF4-FFF2-40B4-BE49-F238E27FC236}">
                <a16:creationId xmlns:a16="http://schemas.microsoft.com/office/drawing/2014/main" id="{01C3729A-1306-E711-52C6-9FCCE5188F22}"/>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1224395" y="2773738"/>
            <a:ext cx="571500" cy="571500"/>
          </a:xfrm>
          <a:prstGeom prst="rect">
            <a:avLst/>
          </a:prstGeom>
        </p:spPr>
      </p:pic>
      <p:pic>
        <p:nvPicPr>
          <p:cNvPr id="81" name="Ábra 80">
            <a:extLst>
              <a:ext uri="{FF2B5EF4-FFF2-40B4-BE49-F238E27FC236}">
                <a16:creationId xmlns:a16="http://schemas.microsoft.com/office/drawing/2014/main" id="{8C161EFD-3C0F-3C30-7429-3AE54EFBBD0D}"/>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407987" y="2773738"/>
            <a:ext cx="571500" cy="571500"/>
          </a:xfrm>
          <a:prstGeom prst="rect">
            <a:avLst/>
          </a:prstGeom>
        </p:spPr>
      </p:pic>
      <p:pic>
        <p:nvPicPr>
          <p:cNvPr id="83" name="Ábra 82">
            <a:extLst>
              <a:ext uri="{FF2B5EF4-FFF2-40B4-BE49-F238E27FC236}">
                <a16:creationId xmlns:a16="http://schemas.microsoft.com/office/drawing/2014/main" id="{AAD3D817-B461-2017-CA96-05C8C5298A9C}"/>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10204883" y="1656552"/>
            <a:ext cx="571500" cy="571500"/>
          </a:xfrm>
          <a:prstGeom prst="rect">
            <a:avLst/>
          </a:prstGeom>
        </p:spPr>
      </p:pic>
      <p:pic>
        <p:nvPicPr>
          <p:cNvPr id="85" name="Ábra 84">
            <a:extLst>
              <a:ext uri="{FF2B5EF4-FFF2-40B4-BE49-F238E27FC236}">
                <a16:creationId xmlns:a16="http://schemas.microsoft.com/office/drawing/2014/main" id="{C9AA2A2C-5AAA-B9D7-92A9-D55329D8337F}"/>
              </a:ext>
            </a:extLst>
          </p:cNvPr>
          <p:cNvPicPr>
            <a:picLocks noChangeAspect="1"/>
          </p:cNvPicPr>
          <p:nvPr/>
        </p:nvPicPr>
        <p:blipFill>
          <a:blip r:embed="rId83">
            <a:extLst>
              <a:ext uri="{96DAC541-7B7A-43D3-8B79-37D633B846F1}">
                <asvg:svgBlip xmlns:asvg="http://schemas.microsoft.com/office/drawing/2016/SVG/main" r:embed="rId84"/>
              </a:ext>
            </a:extLst>
          </a:blip>
          <a:stretch>
            <a:fillRect/>
          </a:stretch>
        </p:blipFill>
        <p:spPr>
          <a:xfrm>
            <a:off x="9388475" y="1656552"/>
            <a:ext cx="571500" cy="571500"/>
          </a:xfrm>
          <a:prstGeom prst="rect">
            <a:avLst/>
          </a:prstGeom>
        </p:spPr>
      </p:pic>
      <p:pic>
        <p:nvPicPr>
          <p:cNvPr id="87" name="Ábra 86">
            <a:extLst>
              <a:ext uri="{FF2B5EF4-FFF2-40B4-BE49-F238E27FC236}">
                <a16:creationId xmlns:a16="http://schemas.microsoft.com/office/drawing/2014/main" id="{38B2543C-38AC-F84E-CDAE-31020C013081}"/>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8572067" y="1656552"/>
            <a:ext cx="571500" cy="571500"/>
          </a:xfrm>
          <a:prstGeom prst="rect">
            <a:avLst/>
          </a:prstGeom>
        </p:spPr>
      </p:pic>
      <p:pic>
        <p:nvPicPr>
          <p:cNvPr id="89" name="Ábra 88">
            <a:extLst>
              <a:ext uri="{FF2B5EF4-FFF2-40B4-BE49-F238E27FC236}">
                <a16:creationId xmlns:a16="http://schemas.microsoft.com/office/drawing/2014/main" id="{51EA5F93-BB82-FDC0-D919-D1DA032B26D4}"/>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7755659" y="1656552"/>
            <a:ext cx="571500" cy="571500"/>
          </a:xfrm>
          <a:prstGeom prst="rect">
            <a:avLst/>
          </a:prstGeom>
        </p:spPr>
      </p:pic>
      <p:pic>
        <p:nvPicPr>
          <p:cNvPr id="91" name="Ábra 90">
            <a:extLst>
              <a:ext uri="{FF2B5EF4-FFF2-40B4-BE49-F238E27FC236}">
                <a16:creationId xmlns:a16="http://schemas.microsoft.com/office/drawing/2014/main" id="{0596444B-8BFF-6DCA-8310-B6E00CA43E39}"/>
              </a:ext>
            </a:extLst>
          </p:cNvPr>
          <p:cNvPicPr>
            <a:picLocks noChangeAspect="1"/>
          </p:cNvPicPr>
          <p:nvPr/>
        </p:nvPicPr>
        <p:blipFill>
          <a:blip r:embed="rId89">
            <a:extLst>
              <a:ext uri="{96DAC541-7B7A-43D3-8B79-37D633B846F1}">
                <asvg:svgBlip xmlns:asvg="http://schemas.microsoft.com/office/drawing/2016/SVG/main" r:embed="rId90"/>
              </a:ext>
            </a:extLst>
          </a:blip>
          <a:stretch>
            <a:fillRect/>
          </a:stretch>
        </p:blipFill>
        <p:spPr>
          <a:xfrm>
            <a:off x="6939251" y="1656552"/>
            <a:ext cx="571500" cy="571500"/>
          </a:xfrm>
          <a:prstGeom prst="rect">
            <a:avLst/>
          </a:prstGeom>
        </p:spPr>
      </p:pic>
      <p:pic>
        <p:nvPicPr>
          <p:cNvPr id="93" name="Ábra 92">
            <a:extLst>
              <a:ext uri="{FF2B5EF4-FFF2-40B4-BE49-F238E27FC236}">
                <a16:creationId xmlns:a16="http://schemas.microsoft.com/office/drawing/2014/main" id="{6CC556DC-2E6E-B7CA-3FAE-304CC8C01B3D}"/>
              </a:ext>
            </a:extLst>
          </p:cNvPr>
          <p:cNvPicPr>
            <a:picLocks noChangeAspect="1"/>
          </p:cNvPicPr>
          <p:nvPr/>
        </p:nvPicPr>
        <p:blipFill>
          <a:blip r:embed="rId91">
            <a:extLst>
              <a:ext uri="{96DAC541-7B7A-43D3-8B79-37D633B846F1}">
                <asvg:svgBlip xmlns:asvg="http://schemas.microsoft.com/office/drawing/2016/SVG/main" r:embed="rId92"/>
              </a:ext>
            </a:extLst>
          </a:blip>
          <a:stretch>
            <a:fillRect/>
          </a:stretch>
        </p:blipFill>
        <p:spPr>
          <a:xfrm>
            <a:off x="6122843" y="1656552"/>
            <a:ext cx="571500" cy="571500"/>
          </a:xfrm>
          <a:prstGeom prst="rect">
            <a:avLst/>
          </a:prstGeom>
        </p:spPr>
      </p:pic>
      <p:pic>
        <p:nvPicPr>
          <p:cNvPr id="95" name="Ábra 94">
            <a:extLst>
              <a:ext uri="{FF2B5EF4-FFF2-40B4-BE49-F238E27FC236}">
                <a16:creationId xmlns:a16="http://schemas.microsoft.com/office/drawing/2014/main" id="{91AC9B8A-1E4D-BA8E-6A3F-22D5DB636A73}"/>
              </a:ext>
            </a:extLst>
          </p:cNvPr>
          <p:cNvPicPr>
            <a:picLocks noChangeAspect="1"/>
          </p:cNvPicPr>
          <p:nvPr/>
        </p:nvPicPr>
        <p:blipFill>
          <a:blip r:embed="rId93">
            <a:extLst>
              <a:ext uri="{96DAC541-7B7A-43D3-8B79-37D633B846F1}">
                <asvg:svgBlip xmlns:asvg="http://schemas.microsoft.com/office/drawing/2016/SVG/main" r:embed="rId94"/>
              </a:ext>
            </a:extLst>
          </a:blip>
          <a:stretch>
            <a:fillRect/>
          </a:stretch>
        </p:blipFill>
        <p:spPr>
          <a:xfrm>
            <a:off x="5306435" y="1656552"/>
            <a:ext cx="571500" cy="571500"/>
          </a:xfrm>
          <a:prstGeom prst="rect">
            <a:avLst/>
          </a:prstGeom>
        </p:spPr>
      </p:pic>
      <p:pic>
        <p:nvPicPr>
          <p:cNvPr id="97" name="Ábra 96">
            <a:extLst>
              <a:ext uri="{FF2B5EF4-FFF2-40B4-BE49-F238E27FC236}">
                <a16:creationId xmlns:a16="http://schemas.microsoft.com/office/drawing/2014/main" id="{204C068F-9C8C-1BF8-A49D-753893D2D59A}"/>
              </a:ext>
            </a:extLst>
          </p:cNvPr>
          <p:cNvPicPr>
            <a:picLocks noChangeAspect="1"/>
          </p:cNvPicPr>
          <p:nvPr/>
        </p:nvPicPr>
        <p:blipFill>
          <a:blip r:embed="rId95">
            <a:extLst>
              <a:ext uri="{96DAC541-7B7A-43D3-8B79-37D633B846F1}">
                <asvg:svgBlip xmlns:asvg="http://schemas.microsoft.com/office/drawing/2016/SVG/main" r:embed="rId96"/>
              </a:ext>
            </a:extLst>
          </a:blip>
          <a:stretch>
            <a:fillRect/>
          </a:stretch>
        </p:blipFill>
        <p:spPr>
          <a:xfrm>
            <a:off x="4490027" y="1656552"/>
            <a:ext cx="571500" cy="571500"/>
          </a:xfrm>
          <a:prstGeom prst="rect">
            <a:avLst/>
          </a:prstGeom>
        </p:spPr>
      </p:pic>
      <p:pic>
        <p:nvPicPr>
          <p:cNvPr id="99" name="Ábra 98">
            <a:extLst>
              <a:ext uri="{FF2B5EF4-FFF2-40B4-BE49-F238E27FC236}">
                <a16:creationId xmlns:a16="http://schemas.microsoft.com/office/drawing/2014/main" id="{55F8563B-13D4-5943-24CC-B44FCB7962D0}"/>
              </a:ext>
            </a:extLst>
          </p:cNvPr>
          <p:cNvPicPr>
            <a:picLocks noChangeAspect="1"/>
          </p:cNvPicPr>
          <p:nvPr/>
        </p:nvPicPr>
        <p:blipFill>
          <a:blip r:embed="rId97">
            <a:extLst>
              <a:ext uri="{96DAC541-7B7A-43D3-8B79-37D633B846F1}">
                <asvg:svgBlip xmlns:asvg="http://schemas.microsoft.com/office/drawing/2016/SVG/main" r:embed="rId98"/>
              </a:ext>
            </a:extLst>
          </a:blip>
          <a:stretch>
            <a:fillRect/>
          </a:stretch>
        </p:blipFill>
        <p:spPr>
          <a:xfrm>
            <a:off x="3673619" y="1656552"/>
            <a:ext cx="571500" cy="571500"/>
          </a:xfrm>
          <a:prstGeom prst="rect">
            <a:avLst/>
          </a:prstGeom>
        </p:spPr>
      </p:pic>
      <p:pic>
        <p:nvPicPr>
          <p:cNvPr id="101" name="Ábra 100">
            <a:extLst>
              <a:ext uri="{FF2B5EF4-FFF2-40B4-BE49-F238E27FC236}">
                <a16:creationId xmlns:a16="http://schemas.microsoft.com/office/drawing/2014/main" id="{E3332CF8-F0C8-E8A7-9319-A89FA6A0ACAD}"/>
              </a:ext>
            </a:extLst>
          </p:cNvPr>
          <p:cNvPicPr>
            <a:picLocks noChangeAspect="1"/>
          </p:cNvPicPr>
          <p:nvPr/>
        </p:nvPicPr>
        <p:blipFill>
          <a:blip r:embed="rId99">
            <a:extLst>
              <a:ext uri="{96DAC541-7B7A-43D3-8B79-37D633B846F1}">
                <asvg:svgBlip xmlns:asvg="http://schemas.microsoft.com/office/drawing/2016/SVG/main" r:embed="rId100"/>
              </a:ext>
            </a:extLst>
          </a:blip>
          <a:stretch>
            <a:fillRect/>
          </a:stretch>
        </p:blipFill>
        <p:spPr>
          <a:xfrm>
            <a:off x="2857211" y="1656552"/>
            <a:ext cx="571500" cy="571500"/>
          </a:xfrm>
          <a:prstGeom prst="rect">
            <a:avLst/>
          </a:prstGeom>
        </p:spPr>
      </p:pic>
      <p:pic>
        <p:nvPicPr>
          <p:cNvPr id="103" name="Ábra 102">
            <a:extLst>
              <a:ext uri="{FF2B5EF4-FFF2-40B4-BE49-F238E27FC236}">
                <a16:creationId xmlns:a16="http://schemas.microsoft.com/office/drawing/2014/main" id="{61807D21-46B5-2FBB-A6C5-CC315486C1D3}"/>
              </a:ext>
            </a:extLst>
          </p:cNvPr>
          <p:cNvPicPr>
            <a:picLocks noChangeAspect="1"/>
          </p:cNvPicPr>
          <p:nvPr/>
        </p:nvPicPr>
        <p:blipFill>
          <a:blip r:embed="rId101">
            <a:extLst>
              <a:ext uri="{96DAC541-7B7A-43D3-8B79-37D633B846F1}">
                <asvg:svgBlip xmlns:asvg="http://schemas.microsoft.com/office/drawing/2016/SVG/main" r:embed="rId102"/>
              </a:ext>
            </a:extLst>
          </a:blip>
          <a:stretch>
            <a:fillRect/>
          </a:stretch>
        </p:blipFill>
        <p:spPr>
          <a:xfrm>
            <a:off x="2040803" y="1656552"/>
            <a:ext cx="571500" cy="571500"/>
          </a:xfrm>
          <a:prstGeom prst="rect">
            <a:avLst/>
          </a:prstGeom>
        </p:spPr>
      </p:pic>
      <p:pic>
        <p:nvPicPr>
          <p:cNvPr id="105" name="Ábra 104">
            <a:extLst>
              <a:ext uri="{FF2B5EF4-FFF2-40B4-BE49-F238E27FC236}">
                <a16:creationId xmlns:a16="http://schemas.microsoft.com/office/drawing/2014/main" id="{0FBD5858-9E17-1056-C10D-FC3E7BF7EF58}"/>
              </a:ext>
            </a:extLst>
          </p:cNvPr>
          <p:cNvPicPr>
            <a:picLocks noChangeAspect="1"/>
          </p:cNvPicPr>
          <p:nvPr/>
        </p:nvPicPr>
        <p:blipFill>
          <a:blip r:embed="rId103">
            <a:extLst>
              <a:ext uri="{96DAC541-7B7A-43D3-8B79-37D633B846F1}">
                <asvg:svgBlip xmlns:asvg="http://schemas.microsoft.com/office/drawing/2016/SVG/main" r:embed="rId104"/>
              </a:ext>
            </a:extLst>
          </a:blip>
          <a:stretch>
            <a:fillRect/>
          </a:stretch>
        </p:blipFill>
        <p:spPr>
          <a:xfrm>
            <a:off x="1224395" y="1656552"/>
            <a:ext cx="571500" cy="571500"/>
          </a:xfrm>
          <a:prstGeom prst="rect">
            <a:avLst/>
          </a:prstGeom>
        </p:spPr>
      </p:pic>
      <p:pic>
        <p:nvPicPr>
          <p:cNvPr id="107" name="Ábra 106">
            <a:extLst>
              <a:ext uri="{FF2B5EF4-FFF2-40B4-BE49-F238E27FC236}">
                <a16:creationId xmlns:a16="http://schemas.microsoft.com/office/drawing/2014/main" id="{93F0BF03-0189-DDA7-1C78-6D7C76CAD710}"/>
              </a:ext>
            </a:extLst>
          </p:cNvPr>
          <p:cNvPicPr>
            <a:picLocks noChangeAspect="1"/>
          </p:cNvPicPr>
          <p:nvPr/>
        </p:nvPicPr>
        <p:blipFill>
          <a:blip r:embed="rId105">
            <a:extLst>
              <a:ext uri="{96DAC541-7B7A-43D3-8B79-37D633B846F1}">
                <asvg:svgBlip xmlns:asvg="http://schemas.microsoft.com/office/drawing/2016/SVG/main" r:embed="rId106"/>
              </a:ext>
            </a:extLst>
          </a:blip>
          <a:stretch>
            <a:fillRect/>
          </a:stretch>
        </p:blipFill>
        <p:spPr>
          <a:xfrm>
            <a:off x="407987" y="1656552"/>
            <a:ext cx="571500" cy="571500"/>
          </a:xfrm>
          <a:prstGeom prst="rect">
            <a:avLst/>
          </a:prstGeom>
        </p:spPr>
      </p:pic>
      <p:sp>
        <p:nvSpPr>
          <p:cNvPr id="110" name="Szövegdoboz 109">
            <a:extLst>
              <a:ext uri="{FF2B5EF4-FFF2-40B4-BE49-F238E27FC236}">
                <a16:creationId xmlns:a16="http://schemas.microsoft.com/office/drawing/2014/main" id="{82686DBB-B4F6-E71B-0103-39A1138D1B75}"/>
              </a:ext>
            </a:extLst>
          </p:cNvPr>
          <p:cNvSpPr txBox="1"/>
          <p:nvPr/>
        </p:nvSpPr>
        <p:spPr>
          <a:xfrm>
            <a:off x="8471065" y="5633525"/>
            <a:ext cx="773503" cy="429861"/>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ustomer success/</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Feedback</a:t>
            </a:r>
            <a:endParaRPr lang="en-US" sz="800">
              <a:solidFill>
                <a:schemeClr val="bg1">
                  <a:lumMod val="50000"/>
                </a:schemeClr>
              </a:solidFill>
              <a:latin typeface="Open Sauce One" pitchFamily="2" charset="0"/>
            </a:endParaRPr>
          </a:p>
        </p:txBody>
      </p:sp>
      <p:sp>
        <p:nvSpPr>
          <p:cNvPr id="111" name="Szövegdoboz 110">
            <a:extLst>
              <a:ext uri="{FF2B5EF4-FFF2-40B4-BE49-F238E27FC236}">
                <a16:creationId xmlns:a16="http://schemas.microsoft.com/office/drawing/2014/main" id="{97B959FA-B557-177F-AFBE-7606C9CDE2E3}"/>
              </a:ext>
            </a:extLst>
          </p:cNvPr>
          <p:cNvSpPr txBox="1"/>
          <p:nvPr/>
        </p:nvSpPr>
        <p:spPr>
          <a:xfrm>
            <a:off x="306985" y="2266911"/>
            <a:ext cx="773503" cy="282129"/>
          </a:xfrm>
          <a:prstGeom prst="rect">
            <a:avLst/>
          </a:prstGeom>
          <a:noFill/>
        </p:spPr>
        <p:txBody>
          <a:bodyPr wrap="square" lIns="0" tIns="0" rIns="0" bIns="0">
            <a:spAutoFit/>
          </a:bodyPr>
          <a:lstStyle/>
          <a:p>
            <a:pPr algn="ctr">
              <a:lnSpc>
                <a:spcPct val="120000"/>
              </a:lnSpc>
            </a:pPr>
            <a:r>
              <a:rPr lang="en-GB" sz="800">
                <a:solidFill>
                  <a:schemeClr val="bg1">
                    <a:lumMod val="50000"/>
                  </a:schemeClr>
                </a:solidFill>
                <a:latin typeface="Open Sauce One" pitchFamily="2" charset="0"/>
              </a:rPr>
              <a:t>Win-Win/</a:t>
            </a:r>
            <a:br>
              <a:rPr lang="en-GB" sz="800">
                <a:solidFill>
                  <a:schemeClr val="bg1">
                    <a:lumMod val="50000"/>
                  </a:schemeClr>
                </a:solidFill>
                <a:latin typeface="Open Sauce One" pitchFamily="2" charset="0"/>
              </a:rPr>
            </a:br>
            <a:r>
              <a:rPr lang="en-GB" sz="800">
                <a:solidFill>
                  <a:schemeClr val="bg1">
                    <a:lumMod val="50000"/>
                  </a:schemeClr>
                </a:solidFill>
                <a:latin typeface="Open Sauce One" pitchFamily="2" charset="0"/>
              </a:rPr>
              <a:t>Partnership</a:t>
            </a:r>
            <a:endParaRPr lang="en-US" sz="800">
              <a:solidFill>
                <a:schemeClr val="bg1">
                  <a:lumMod val="50000"/>
                </a:schemeClr>
              </a:solidFill>
              <a:latin typeface="Open Sauce One" pitchFamily="2" charset="0"/>
            </a:endParaRPr>
          </a:p>
        </p:txBody>
      </p:sp>
      <p:sp>
        <p:nvSpPr>
          <p:cNvPr id="112" name="Szövegdoboz 111">
            <a:extLst>
              <a:ext uri="{FF2B5EF4-FFF2-40B4-BE49-F238E27FC236}">
                <a16:creationId xmlns:a16="http://schemas.microsoft.com/office/drawing/2014/main" id="{E2A8319C-F690-CD96-C2D8-26EEDFFCBD8D}"/>
              </a:ext>
            </a:extLst>
          </p:cNvPr>
          <p:cNvSpPr txBox="1"/>
          <p:nvPr/>
        </p:nvSpPr>
        <p:spPr>
          <a:xfrm>
            <a:off x="1123393" y="2266911"/>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Webinar</a:t>
            </a:r>
            <a:endParaRPr lang="en-US" sz="800">
              <a:solidFill>
                <a:schemeClr val="bg1">
                  <a:lumMod val="50000"/>
                </a:schemeClr>
              </a:solidFill>
              <a:latin typeface="Open Sauce One" pitchFamily="2" charset="0"/>
            </a:endParaRPr>
          </a:p>
        </p:txBody>
      </p:sp>
      <p:sp>
        <p:nvSpPr>
          <p:cNvPr id="114" name="Szövegdoboz 113">
            <a:extLst>
              <a:ext uri="{FF2B5EF4-FFF2-40B4-BE49-F238E27FC236}">
                <a16:creationId xmlns:a16="http://schemas.microsoft.com/office/drawing/2014/main" id="{BB620DD8-C554-2630-8D8E-0B3742B75665}"/>
              </a:ext>
            </a:extLst>
          </p:cNvPr>
          <p:cNvSpPr txBox="1"/>
          <p:nvPr/>
        </p:nvSpPr>
        <p:spPr>
          <a:xfrm>
            <a:off x="1939801" y="2266911"/>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Validation</a:t>
            </a:r>
            <a:endParaRPr lang="en-US" sz="800">
              <a:solidFill>
                <a:schemeClr val="bg1">
                  <a:lumMod val="50000"/>
                </a:schemeClr>
              </a:solidFill>
              <a:latin typeface="Open Sauce One" pitchFamily="2" charset="0"/>
            </a:endParaRPr>
          </a:p>
        </p:txBody>
      </p:sp>
      <p:sp>
        <p:nvSpPr>
          <p:cNvPr id="115" name="Szövegdoboz 114">
            <a:extLst>
              <a:ext uri="{FF2B5EF4-FFF2-40B4-BE49-F238E27FC236}">
                <a16:creationId xmlns:a16="http://schemas.microsoft.com/office/drawing/2014/main" id="{D177070B-878F-1C1E-5ACA-1E4658AE33FF}"/>
              </a:ext>
            </a:extLst>
          </p:cNvPr>
          <p:cNvSpPr txBox="1"/>
          <p:nvPr/>
        </p:nvSpPr>
        <p:spPr>
          <a:xfrm>
            <a:off x="2756209" y="2262214"/>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Trust/</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ertified</a:t>
            </a:r>
            <a:endParaRPr lang="en-US" sz="800">
              <a:solidFill>
                <a:schemeClr val="bg1">
                  <a:lumMod val="50000"/>
                </a:schemeClr>
              </a:solidFill>
              <a:latin typeface="Open Sauce One" pitchFamily="2" charset="0"/>
            </a:endParaRPr>
          </a:p>
        </p:txBody>
      </p:sp>
      <p:sp>
        <p:nvSpPr>
          <p:cNvPr id="116" name="Szövegdoboz 115">
            <a:extLst>
              <a:ext uri="{FF2B5EF4-FFF2-40B4-BE49-F238E27FC236}">
                <a16:creationId xmlns:a16="http://schemas.microsoft.com/office/drawing/2014/main" id="{A8B15395-DD55-3172-DC05-5D04B0103B1A}"/>
              </a:ext>
            </a:extLst>
          </p:cNvPr>
          <p:cNvSpPr txBox="1"/>
          <p:nvPr/>
        </p:nvSpPr>
        <p:spPr>
          <a:xfrm>
            <a:off x="3572617" y="2262214"/>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Train AI</a:t>
            </a:r>
            <a:endParaRPr lang="en-US" sz="800">
              <a:solidFill>
                <a:schemeClr val="bg1">
                  <a:lumMod val="50000"/>
                </a:schemeClr>
              </a:solidFill>
              <a:latin typeface="Open Sauce One" pitchFamily="2" charset="0"/>
            </a:endParaRPr>
          </a:p>
        </p:txBody>
      </p:sp>
      <p:sp>
        <p:nvSpPr>
          <p:cNvPr id="117" name="Szövegdoboz 116">
            <a:extLst>
              <a:ext uri="{FF2B5EF4-FFF2-40B4-BE49-F238E27FC236}">
                <a16:creationId xmlns:a16="http://schemas.microsoft.com/office/drawing/2014/main" id="{F1FCE13C-FBBF-FA1B-B3CF-2DBAC627BF7C}"/>
              </a:ext>
            </a:extLst>
          </p:cNvPr>
          <p:cNvSpPr txBox="1"/>
          <p:nvPr/>
        </p:nvSpPr>
        <p:spPr>
          <a:xfrm>
            <a:off x="4389025" y="2262214"/>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Timeline/</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alendar</a:t>
            </a:r>
            <a:endParaRPr lang="en-US" sz="800">
              <a:solidFill>
                <a:schemeClr val="bg1">
                  <a:lumMod val="50000"/>
                </a:schemeClr>
              </a:solidFill>
              <a:latin typeface="Open Sauce One" pitchFamily="2" charset="0"/>
            </a:endParaRPr>
          </a:p>
        </p:txBody>
      </p:sp>
      <p:sp>
        <p:nvSpPr>
          <p:cNvPr id="118" name="Szövegdoboz 117">
            <a:extLst>
              <a:ext uri="{FF2B5EF4-FFF2-40B4-BE49-F238E27FC236}">
                <a16:creationId xmlns:a16="http://schemas.microsoft.com/office/drawing/2014/main" id="{67143E78-FE66-BCAE-816D-036650ED1325}"/>
              </a:ext>
            </a:extLst>
          </p:cNvPr>
          <p:cNvSpPr txBox="1"/>
          <p:nvPr/>
        </p:nvSpPr>
        <p:spPr>
          <a:xfrm>
            <a:off x="5205433" y="2262214"/>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Technology Partner</a:t>
            </a:r>
            <a:endParaRPr lang="en-US" sz="800">
              <a:solidFill>
                <a:schemeClr val="bg1">
                  <a:lumMod val="50000"/>
                </a:schemeClr>
              </a:solidFill>
              <a:latin typeface="Open Sauce One" pitchFamily="2" charset="0"/>
            </a:endParaRPr>
          </a:p>
        </p:txBody>
      </p:sp>
      <p:sp>
        <p:nvSpPr>
          <p:cNvPr id="119" name="Szövegdoboz 118">
            <a:extLst>
              <a:ext uri="{FF2B5EF4-FFF2-40B4-BE49-F238E27FC236}">
                <a16:creationId xmlns:a16="http://schemas.microsoft.com/office/drawing/2014/main" id="{B9C209A5-5F0A-C7EF-B84D-36B481B1D91F}"/>
              </a:ext>
            </a:extLst>
          </p:cNvPr>
          <p:cNvSpPr txBox="1"/>
          <p:nvPr/>
        </p:nvSpPr>
        <p:spPr>
          <a:xfrm>
            <a:off x="6021841" y="2262214"/>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Support/</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ontact</a:t>
            </a:r>
            <a:endParaRPr lang="en-US" sz="800">
              <a:solidFill>
                <a:schemeClr val="bg1">
                  <a:lumMod val="50000"/>
                </a:schemeClr>
              </a:solidFill>
              <a:latin typeface="Open Sauce One" pitchFamily="2" charset="0"/>
            </a:endParaRPr>
          </a:p>
        </p:txBody>
      </p:sp>
      <p:sp>
        <p:nvSpPr>
          <p:cNvPr id="120" name="Szövegdoboz 119">
            <a:extLst>
              <a:ext uri="{FF2B5EF4-FFF2-40B4-BE49-F238E27FC236}">
                <a16:creationId xmlns:a16="http://schemas.microsoft.com/office/drawing/2014/main" id="{60B37DBA-A311-ACF2-9922-A472EBFCF387}"/>
              </a:ext>
            </a:extLst>
          </p:cNvPr>
          <p:cNvSpPr txBox="1"/>
          <p:nvPr/>
        </p:nvSpPr>
        <p:spPr>
          <a:xfrm>
            <a:off x="6834015" y="2262214"/>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Situation/</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Target</a:t>
            </a:r>
            <a:endParaRPr lang="en-US" sz="800">
              <a:solidFill>
                <a:schemeClr val="bg1">
                  <a:lumMod val="50000"/>
                </a:schemeClr>
              </a:solidFill>
              <a:latin typeface="Open Sauce One" pitchFamily="2" charset="0"/>
            </a:endParaRPr>
          </a:p>
        </p:txBody>
      </p:sp>
      <p:sp>
        <p:nvSpPr>
          <p:cNvPr id="121" name="Szövegdoboz 120">
            <a:extLst>
              <a:ext uri="{FF2B5EF4-FFF2-40B4-BE49-F238E27FC236}">
                <a16:creationId xmlns:a16="http://schemas.microsoft.com/office/drawing/2014/main" id="{942BBCA4-0E54-D745-9B58-AF113914A51A}"/>
              </a:ext>
            </a:extLst>
          </p:cNvPr>
          <p:cNvSpPr txBox="1"/>
          <p:nvPr/>
        </p:nvSpPr>
        <p:spPr>
          <a:xfrm>
            <a:off x="7654657" y="2262214"/>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Security</a:t>
            </a:r>
            <a:endParaRPr lang="en-US" sz="800">
              <a:solidFill>
                <a:schemeClr val="bg1">
                  <a:lumMod val="50000"/>
                </a:schemeClr>
              </a:solidFill>
              <a:latin typeface="Open Sauce One" pitchFamily="2" charset="0"/>
            </a:endParaRPr>
          </a:p>
        </p:txBody>
      </p:sp>
      <p:sp>
        <p:nvSpPr>
          <p:cNvPr id="122" name="Szövegdoboz 121">
            <a:extLst>
              <a:ext uri="{FF2B5EF4-FFF2-40B4-BE49-F238E27FC236}">
                <a16:creationId xmlns:a16="http://schemas.microsoft.com/office/drawing/2014/main" id="{28F38D92-8A06-FB3D-9E85-FA5DE8E7EE32}"/>
              </a:ext>
            </a:extLst>
          </p:cNvPr>
          <p:cNvSpPr txBox="1"/>
          <p:nvPr/>
        </p:nvSpPr>
        <p:spPr>
          <a:xfrm>
            <a:off x="8475299" y="2262214"/>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Roadmap</a:t>
            </a:r>
            <a:endParaRPr lang="en-US" sz="800">
              <a:solidFill>
                <a:schemeClr val="bg1">
                  <a:lumMod val="50000"/>
                </a:schemeClr>
              </a:solidFill>
              <a:latin typeface="Open Sauce One" pitchFamily="2" charset="0"/>
            </a:endParaRPr>
          </a:p>
        </p:txBody>
      </p:sp>
      <p:sp>
        <p:nvSpPr>
          <p:cNvPr id="123" name="Szövegdoboz 122">
            <a:extLst>
              <a:ext uri="{FF2B5EF4-FFF2-40B4-BE49-F238E27FC236}">
                <a16:creationId xmlns:a16="http://schemas.microsoft.com/office/drawing/2014/main" id="{16443751-5DDD-2822-7D4E-9978186B818D}"/>
              </a:ext>
            </a:extLst>
          </p:cNvPr>
          <p:cNvSpPr txBox="1"/>
          <p:nvPr/>
        </p:nvSpPr>
        <p:spPr>
          <a:xfrm>
            <a:off x="9287473" y="2262214"/>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Quote/</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Text</a:t>
            </a:r>
            <a:endParaRPr lang="en-US" sz="800">
              <a:solidFill>
                <a:schemeClr val="bg1">
                  <a:lumMod val="50000"/>
                </a:schemeClr>
              </a:solidFill>
              <a:latin typeface="Open Sauce One" pitchFamily="2" charset="0"/>
            </a:endParaRPr>
          </a:p>
        </p:txBody>
      </p:sp>
      <p:sp>
        <p:nvSpPr>
          <p:cNvPr id="124" name="Szövegdoboz 123">
            <a:extLst>
              <a:ext uri="{FF2B5EF4-FFF2-40B4-BE49-F238E27FC236}">
                <a16:creationId xmlns:a16="http://schemas.microsoft.com/office/drawing/2014/main" id="{5DD5E5C9-5DF5-0679-8565-DB38E2162FAF}"/>
              </a:ext>
            </a:extLst>
          </p:cNvPr>
          <p:cNvSpPr txBox="1"/>
          <p:nvPr/>
        </p:nvSpPr>
        <p:spPr>
          <a:xfrm>
            <a:off x="10103881" y="2262214"/>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heck/</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Quality</a:t>
            </a:r>
            <a:endParaRPr lang="en-US" sz="800">
              <a:solidFill>
                <a:schemeClr val="bg1">
                  <a:lumMod val="50000"/>
                </a:schemeClr>
              </a:solidFill>
              <a:latin typeface="Open Sauce One" pitchFamily="2" charset="0"/>
            </a:endParaRPr>
          </a:p>
        </p:txBody>
      </p:sp>
      <p:sp>
        <p:nvSpPr>
          <p:cNvPr id="155" name="Szövegdoboz 154">
            <a:extLst>
              <a:ext uri="{FF2B5EF4-FFF2-40B4-BE49-F238E27FC236}">
                <a16:creationId xmlns:a16="http://schemas.microsoft.com/office/drawing/2014/main" id="{78451D19-386C-75E4-CB02-1BBADE997AA3}"/>
              </a:ext>
            </a:extLst>
          </p:cNvPr>
          <p:cNvSpPr txBox="1"/>
          <p:nvPr/>
        </p:nvSpPr>
        <p:spPr>
          <a:xfrm>
            <a:off x="306985" y="3406598"/>
            <a:ext cx="773503" cy="134396"/>
          </a:xfrm>
          <a:prstGeom prst="rect">
            <a:avLst/>
          </a:prstGeom>
          <a:noFill/>
        </p:spPr>
        <p:txBody>
          <a:bodyPr wrap="square" lIns="0" tIns="0" rIns="0" bIns="0">
            <a:spAutoFit/>
          </a:bodyPr>
          <a:lstStyle/>
          <a:p>
            <a:pPr algn="ctr">
              <a:lnSpc>
                <a:spcPct val="120000"/>
              </a:lnSpc>
            </a:pPr>
            <a:r>
              <a:rPr lang="en-GB" sz="800">
                <a:solidFill>
                  <a:schemeClr val="bg1">
                    <a:lumMod val="50000"/>
                  </a:schemeClr>
                </a:solidFill>
                <a:latin typeface="Open Sauce One" pitchFamily="2" charset="0"/>
              </a:rPr>
              <a:t>Process</a:t>
            </a:r>
            <a:endParaRPr lang="en-US" sz="800">
              <a:solidFill>
                <a:schemeClr val="bg1">
                  <a:lumMod val="50000"/>
                </a:schemeClr>
              </a:solidFill>
              <a:latin typeface="Open Sauce One" pitchFamily="2" charset="0"/>
            </a:endParaRPr>
          </a:p>
        </p:txBody>
      </p:sp>
      <p:sp>
        <p:nvSpPr>
          <p:cNvPr id="156" name="Szövegdoboz 155">
            <a:extLst>
              <a:ext uri="{FF2B5EF4-FFF2-40B4-BE49-F238E27FC236}">
                <a16:creationId xmlns:a16="http://schemas.microsoft.com/office/drawing/2014/main" id="{ED1E4A90-1CB4-BE8E-17B9-911358E253F9}"/>
              </a:ext>
            </a:extLst>
          </p:cNvPr>
          <p:cNvSpPr txBox="1"/>
          <p:nvPr/>
        </p:nvSpPr>
        <p:spPr>
          <a:xfrm>
            <a:off x="1123393" y="3406598"/>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Prediction</a:t>
            </a:r>
            <a:endParaRPr lang="en-US" sz="800">
              <a:solidFill>
                <a:schemeClr val="bg1">
                  <a:lumMod val="50000"/>
                </a:schemeClr>
              </a:solidFill>
              <a:latin typeface="Open Sauce One" pitchFamily="2" charset="0"/>
            </a:endParaRPr>
          </a:p>
        </p:txBody>
      </p:sp>
      <p:sp>
        <p:nvSpPr>
          <p:cNvPr id="157" name="Szövegdoboz 156">
            <a:extLst>
              <a:ext uri="{FF2B5EF4-FFF2-40B4-BE49-F238E27FC236}">
                <a16:creationId xmlns:a16="http://schemas.microsoft.com/office/drawing/2014/main" id="{2388CEBE-C6E3-B31E-1980-EA76B61CA998}"/>
              </a:ext>
            </a:extLst>
          </p:cNvPr>
          <p:cNvSpPr txBox="1"/>
          <p:nvPr/>
        </p:nvSpPr>
        <p:spPr>
          <a:xfrm>
            <a:off x="1939801" y="3406598"/>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Growth/</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Potential</a:t>
            </a:r>
            <a:endParaRPr lang="en-US" sz="800">
              <a:solidFill>
                <a:schemeClr val="bg1">
                  <a:lumMod val="50000"/>
                </a:schemeClr>
              </a:solidFill>
              <a:latin typeface="Open Sauce One" pitchFamily="2" charset="0"/>
            </a:endParaRPr>
          </a:p>
        </p:txBody>
      </p:sp>
      <p:sp>
        <p:nvSpPr>
          <p:cNvPr id="158" name="Szövegdoboz 157">
            <a:extLst>
              <a:ext uri="{FF2B5EF4-FFF2-40B4-BE49-F238E27FC236}">
                <a16:creationId xmlns:a16="http://schemas.microsoft.com/office/drawing/2014/main" id="{6A68F53E-A329-9EFF-D4F4-CB4EE718CFC3}"/>
              </a:ext>
            </a:extLst>
          </p:cNvPr>
          <p:cNvSpPr txBox="1"/>
          <p:nvPr/>
        </p:nvSpPr>
        <p:spPr>
          <a:xfrm>
            <a:off x="2756209" y="3401901"/>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Plug and Play</a:t>
            </a:r>
            <a:endParaRPr lang="en-US" sz="800">
              <a:solidFill>
                <a:schemeClr val="bg1">
                  <a:lumMod val="50000"/>
                </a:schemeClr>
              </a:solidFill>
              <a:latin typeface="Open Sauce One" pitchFamily="2" charset="0"/>
            </a:endParaRPr>
          </a:p>
        </p:txBody>
      </p:sp>
      <p:sp>
        <p:nvSpPr>
          <p:cNvPr id="159" name="Szövegdoboz 158">
            <a:extLst>
              <a:ext uri="{FF2B5EF4-FFF2-40B4-BE49-F238E27FC236}">
                <a16:creationId xmlns:a16="http://schemas.microsoft.com/office/drawing/2014/main" id="{53CDFEE8-27F4-3D14-0936-69A8B4A136B7}"/>
              </a:ext>
            </a:extLst>
          </p:cNvPr>
          <p:cNvSpPr txBox="1"/>
          <p:nvPr/>
        </p:nvSpPr>
        <p:spPr>
          <a:xfrm>
            <a:off x="3572617" y="3401901"/>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List/Testing</a:t>
            </a:r>
            <a:endParaRPr lang="en-US" sz="800">
              <a:solidFill>
                <a:schemeClr val="bg1">
                  <a:lumMod val="50000"/>
                </a:schemeClr>
              </a:solidFill>
              <a:latin typeface="Open Sauce One" pitchFamily="2" charset="0"/>
            </a:endParaRPr>
          </a:p>
        </p:txBody>
      </p:sp>
      <p:sp>
        <p:nvSpPr>
          <p:cNvPr id="160" name="Szövegdoboz 159">
            <a:extLst>
              <a:ext uri="{FF2B5EF4-FFF2-40B4-BE49-F238E27FC236}">
                <a16:creationId xmlns:a16="http://schemas.microsoft.com/office/drawing/2014/main" id="{42E51BF7-7406-E2C9-9414-BFAC097A4AC9}"/>
              </a:ext>
            </a:extLst>
          </p:cNvPr>
          <p:cNvSpPr txBox="1"/>
          <p:nvPr/>
        </p:nvSpPr>
        <p:spPr>
          <a:xfrm>
            <a:off x="4389025" y="3401901"/>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err="1">
                <a:ln>
                  <a:noFill/>
                </a:ln>
                <a:solidFill>
                  <a:schemeClr val="bg1">
                    <a:lumMod val="50000"/>
                  </a:schemeClr>
                </a:solidFill>
                <a:effectLst/>
                <a:uLnTx/>
                <a:uFillTx/>
                <a:latin typeface="Open Sauce One" pitchFamily="2" charset="0"/>
              </a:rPr>
              <a:t>Painpoint</a:t>
            </a:r>
            <a:endParaRPr lang="en-US" sz="800">
              <a:solidFill>
                <a:schemeClr val="bg1">
                  <a:lumMod val="50000"/>
                </a:schemeClr>
              </a:solidFill>
              <a:latin typeface="Open Sauce One" pitchFamily="2" charset="0"/>
            </a:endParaRPr>
          </a:p>
        </p:txBody>
      </p:sp>
      <p:sp>
        <p:nvSpPr>
          <p:cNvPr id="161" name="Szövegdoboz 160">
            <a:extLst>
              <a:ext uri="{FF2B5EF4-FFF2-40B4-BE49-F238E27FC236}">
                <a16:creationId xmlns:a16="http://schemas.microsoft.com/office/drawing/2014/main" id="{0FDF161E-A03C-E010-FE31-7520EE5EF7EB}"/>
              </a:ext>
            </a:extLst>
          </p:cNvPr>
          <p:cNvSpPr txBox="1"/>
          <p:nvPr/>
        </p:nvSpPr>
        <p:spPr>
          <a:xfrm>
            <a:off x="5205433" y="3401901"/>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Onboarding</a:t>
            </a:r>
            <a:endParaRPr lang="en-US" sz="800">
              <a:solidFill>
                <a:schemeClr val="bg1">
                  <a:lumMod val="50000"/>
                </a:schemeClr>
              </a:solidFill>
              <a:latin typeface="Open Sauce One" pitchFamily="2" charset="0"/>
            </a:endParaRPr>
          </a:p>
        </p:txBody>
      </p:sp>
      <p:sp>
        <p:nvSpPr>
          <p:cNvPr id="162" name="Szövegdoboz 161">
            <a:extLst>
              <a:ext uri="{FF2B5EF4-FFF2-40B4-BE49-F238E27FC236}">
                <a16:creationId xmlns:a16="http://schemas.microsoft.com/office/drawing/2014/main" id="{5B80758C-88A6-EBFB-0B1D-68C9C3D38961}"/>
              </a:ext>
            </a:extLst>
          </p:cNvPr>
          <p:cNvSpPr txBox="1"/>
          <p:nvPr/>
        </p:nvSpPr>
        <p:spPr>
          <a:xfrm>
            <a:off x="6021841" y="3401901"/>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Match</a:t>
            </a:r>
            <a:endParaRPr lang="en-US" sz="800">
              <a:solidFill>
                <a:schemeClr val="bg1">
                  <a:lumMod val="50000"/>
                </a:schemeClr>
              </a:solidFill>
              <a:latin typeface="Open Sauce One" pitchFamily="2" charset="0"/>
            </a:endParaRPr>
          </a:p>
        </p:txBody>
      </p:sp>
      <p:sp>
        <p:nvSpPr>
          <p:cNvPr id="163" name="Szövegdoboz 162">
            <a:extLst>
              <a:ext uri="{FF2B5EF4-FFF2-40B4-BE49-F238E27FC236}">
                <a16:creationId xmlns:a16="http://schemas.microsoft.com/office/drawing/2014/main" id="{123D3A13-E67E-D56E-278B-B3D7C4AA8BFF}"/>
              </a:ext>
            </a:extLst>
          </p:cNvPr>
          <p:cNvSpPr txBox="1"/>
          <p:nvPr/>
        </p:nvSpPr>
        <p:spPr>
          <a:xfrm>
            <a:off x="6834015" y="3401901"/>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Interface/UI</a:t>
            </a:r>
            <a:endParaRPr lang="en-US" sz="800">
              <a:solidFill>
                <a:schemeClr val="bg1">
                  <a:lumMod val="50000"/>
                </a:schemeClr>
              </a:solidFill>
              <a:latin typeface="Open Sauce One" pitchFamily="2" charset="0"/>
            </a:endParaRPr>
          </a:p>
        </p:txBody>
      </p:sp>
      <p:sp>
        <p:nvSpPr>
          <p:cNvPr id="164" name="Szövegdoboz 163">
            <a:extLst>
              <a:ext uri="{FF2B5EF4-FFF2-40B4-BE49-F238E27FC236}">
                <a16:creationId xmlns:a16="http://schemas.microsoft.com/office/drawing/2014/main" id="{ACD6A986-89D8-DAA7-CD45-4FEF12563014}"/>
              </a:ext>
            </a:extLst>
          </p:cNvPr>
          <p:cNvSpPr txBox="1"/>
          <p:nvPr/>
        </p:nvSpPr>
        <p:spPr>
          <a:xfrm>
            <a:off x="7654657" y="3401901"/>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Improve</a:t>
            </a:r>
            <a:endParaRPr lang="en-US" sz="800">
              <a:solidFill>
                <a:schemeClr val="bg1">
                  <a:lumMod val="50000"/>
                </a:schemeClr>
              </a:solidFill>
              <a:latin typeface="Open Sauce One" pitchFamily="2" charset="0"/>
            </a:endParaRPr>
          </a:p>
        </p:txBody>
      </p:sp>
      <p:sp>
        <p:nvSpPr>
          <p:cNvPr id="165" name="Szövegdoboz 164">
            <a:extLst>
              <a:ext uri="{FF2B5EF4-FFF2-40B4-BE49-F238E27FC236}">
                <a16:creationId xmlns:a16="http://schemas.microsoft.com/office/drawing/2014/main" id="{AB6B7878-4450-5EEE-D834-0B20A7CA6B77}"/>
              </a:ext>
            </a:extLst>
          </p:cNvPr>
          <p:cNvSpPr txBox="1"/>
          <p:nvPr/>
        </p:nvSpPr>
        <p:spPr>
          <a:xfrm>
            <a:off x="8475299" y="3401901"/>
            <a:ext cx="773503" cy="429861"/>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Impact/</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Achievement/</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Goal</a:t>
            </a:r>
            <a:endParaRPr lang="en-US" sz="800">
              <a:solidFill>
                <a:schemeClr val="bg1">
                  <a:lumMod val="50000"/>
                </a:schemeClr>
              </a:solidFill>
              <a:latin typeface="Open Sauce One" pitchFamily="2" charset="0"/>
            </a:endParaRPr>
          </a:p>
        </p:txBody>
      </p:sp>
      <p:sp>
        <p:nvSpPr>
          <p:cNvPr id="166" name="Szövegdoboz 165">
            <a:extLst>
              <a:ext uri="{FF2B5EF4-FFF2-40B4-BE49-F238E27FC236}">
                <a16:creationId xmlns:a16="http://schemas.microsoft.com/office/drawing/2014/main" id="{FE00906A-4623-FC8E-D027-49AF28377B85}"/>
              </a:ext>
            </a:extLst>
          </p:cNvPr>
          <p:cNvSpPr txBox="1"/>
          <p:nvPr/>
        </p:nvSpPr>
        <p:spPr>
          <a:xfrm>
            <a:off x="9287473" y="3401901"/>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err="1">
                <a:ln>
                  <a:noFill/>
                </a:ln>
                <a:solidFill>
                  <a:schemeClr val="bg1">
                    <a:lumMod val="50000"/>
                  </a:schemeClr>
                </a:solidFill>
                <a:effectLst/>
                <a:uLnTx/>
                <a:uFillTx/>
                <a:latin typeface="Open Sauce One" pitchFamily="2" charset="0"/>
              </a:rPr>
              <a:t>Hyperautomation</a:t>
            </a:r>
            <a:endParaRPr lang="en-US" sz="800">
              <a:solidFill>
                <a:schemeClr val="bg1">
                  <a:lumMod val="50000"/>
                </a:schemeClr>
              </a:solidFill>
              <a:latin typeface="Open Sauce One" pitchFamily="2" charset="0"/>
            </a:endParaRPr>
          </a:p>
        </p:txBody>
      </p:sp>
      <p:sp>
        <p:nvSpPr>
          <p:cNvPr id="167" name="Szövegdoboz 166">
            <a:extLst>
              <a:ext uri="{FF2B5EF4-FFF2-40B4-BE49-F238E27FC236}">
                <a16:creationId xmlns:a16="http://schemas.microsoft.com/office/drawing/2014/main" id="{FEC76CCE-3654-0461-2855-348328ECF566}"/>
              </a:ext>
            </a:extLst>
          </p:cNvPr>
          <p:cNvSpPr txBox="1"/>
          <p:nvPr/>
        </p:nvSpPr>
        <p:spPr>
          <a:xfrm>
            <a:off x="10103881" y="3401901"/>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Human</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Operator</a:t>
            </a:r>
            <a:endParaRPr lang="en-US" sz="800">
              <a:solidFill>
                <a:schemeClr val="bg1">
                  <a:lumMod val="50000"/>
                </a:schemeClr>
              </a:solidFill>
              <a:latin typeface="Open Sauce One" pitchFamily="2" charset="0"/>
            </a:endParaRPr>
          </a:p>
        </p:txBody>
      </p:sp>
      <p:sp>
        <p:nvSpPr>
          <p:cNvPr id="168" name="Szövegdoboz 167">
            <a:extLst>
              <a:ext uri="{FF2B5EF4-FFF2-40B4-BE49-F238E27FC236}">
                <a16:creationId xmlns:a16="http://schemas.microsoft.com/office/drawing/2014/main" id="{77866F07-4D94-2198-7AD2-0DA9A9CD66AF}"/>
              </a:ext>
            </a:extLst>
          </p:cNvPr>
          <p:cNvSpPr txBox="1"/>
          <p:nvPr/>
        </p:nvSpPr>
        <p:spPr>
          <a:xfrm>
            <a:off x="306985" y="4559537"/>
            <a:ext cx="773503" cy="134396"/>
          </a:xfrm>
          <a:prstGeom prst="rect">
            <a:avLst/>
          </a:prstGeom>
          <a:noFill/>
        </p:spPr>
        <p:txBody>
          <a:bodyPr wrap="square" lIns="0" tIns="0" rIns="0" bIns="0">
            <a:spAutoFit/>
          </a:bodyPr>
          <a:lstStyle/>
          <a:p>
            <a:pPr algn="ctr">
              <a:lnSpc>
                <a:spcPct val="120000"/>
              </a:lnSpc>
            </a:pPr>
            <a:r>
              <a:rPr lang="en-GB" sz="800">
                <a:solidFill>
                  <a:schemeClr val="bg1">
                    <a:lumMod val="50000"/>
                  </a:schemeClr>
                </a:solidFill>
                <a:latin typeface="Open Sauce One" pitchFamily="2" charset="0"/>
              </a:rPr>
              <a:t>Technology</a:t>
            </a:r>
            <a:endParaRPr lang="en-US" sz="800">
              <a:solidFill>
                <a:schemeClr val="bg1">
                  <a:lumMod val="50000"/>
                </a:schemeClr>
              </a:solidFill>
              <a:latin typeface="Open Sauce One" pitchFamily="2" charset="0"/>
            </a:endParaRPr>
          </a:p>
        </p:txBody>
      </p:sp>
      <p:sp>
        <p:nvSpPr>
          <p:cNvPr id="169" name="Szövegdoboz 168">
            <a:extLst>
              <a:ext uri="{FF2B5EF4-FFF2-40B4-BE49-F238E27FC236}">
                <a16:creationId xmlns:a16="http://schemas.microsoft.com/office/drawing/2014/main" id="{2160153C-4A3A-0F87-003F-D5EE6EC57A4D}"/>
              </a:ext>
            </a:extLst>
          </p:cNvPr>
          <p:cNvSpPr txBox="1"/>
          <p:nvPr/>
        </p:nvSpPr>
        <p:spPr>
          <a:xfrm>
            <a:off x="1123393" y="4559537"/>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Human/</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User</a:t>
            </a:r>
            <a:endParaRPr lang="en-US" sz="800">
              <a:solidFill>
                <a:schemeClr val="bg1">
                  <a:lumMod val="50000"/>
                </a:schemeClr>
              </a:solidFill>
              <a:latin typeface="Open Sauce One" pitchFamily="2" charset="0"/>
            </a:endParaRPr>
          </a:p>
        </p:txBody>
      </p:sp>
      <p:sp>
        <p:nvSpPr>
          <p:cNvPr id="170" name="Szövegdoboz 169">
            <a:extLst>
              <a:ext uri="{FF2B5EF4-FFF2-40B4-BE49-F238E27FC236}">
                <a16:creationId xmlns:a16="http://schemas.microsoft.com/office/drawing/2014/main" id="{E472CA5B-AEFD-D272-74AE-2FC759495836}"/>
              </a:ext>
            </a:extLst>
          </p:cNvPr>
          <p:cNvSpPr txBox="1"/>
          <p:nvPr/>
        </p:nvSpPr>
        <p:spPr>
          <a:xfrm>
            <a:off x="1939801" y="4559537"/>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GPU/CPU</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Technology</a:t>
            </a:r>
            <a:endParaRPr lang="en-US" sz="800">
              <a:solidFill>
                <a:schemeClr val="bg1">
                  <a:lumMod val="50000"/>
                </a:schemeClr>
              </a:solidFill>
              <a:latin typeface="Open Sauce One" pitchFamily="2" charset="0"/>
            </a:endParaRPr>
          </a:p>
        </p:txBody>
      </p:sp>
      <p:sp>
        <p:nvSpPr>
          <p:cNvPr id="171" name="Szövegdoboz 170">
            <a:extLst>
              <a:ext uri="{FF2B5EF4-FFF2-40B4-BE49-F238E27FC236}">
                <a16:creationId xmlns:a16="http://schemas.microsoft.com/office/drawing/2014/main" id="{BA7D4571-D3AE-721A-7CEC-66099057BFD7}"/>
              </a:ext>
            </a:extLst>
          </p:cNvPr>
          <p:cNvSpPr txBox="1"/>
          <p:nvPr/>
        </p:nvSpPr>
        <p:spPr>
          <a:xfrm>
            <a:off x="2756209" y="4554840"/>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Fast/Forward</a:t>
            </a:r>
            <a:endParaRPr lang="en-US" sz="800">
              <a:solidFill>
                <a:schemeClr val="bg1">
                  <a:lumMod val="50000"/>
                </a:schemeClr>
              </a:solidFill>
              <a:latin typeface="Open Sauce One" pitchFamily="2" charset="0"/>
            </a:endParaRPr>
          </a:p>
        </p:txBody>
      </p:sp>
      <p:sp>
        <p:nvSpPr>
          <p:cNvPr id="172" name="Szövegdoboz 171">
            <a:extLst>
              <a:ext uri="{FF2B5EF4-FFF2-40B4-BE49-F238E27FC236}">
                <a16:creationId xmlns:a16="http://schemas.microsoft.com/office/drawing/2014/main" id="{AB8B8B02-2F49-575F-84B4-5A8B9A914FF1}"/>
              </a:ext>
            </a:extLst>
          </p:cNvPr>
          <p:cNvSpPr txBox="1"/>
          <p:nvPr/>
        </p:nvSpPr>
        <p:spPr>
          <a:xfrm>
            <a:off x="3572617" y="455484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Document </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Extraction</a:t>
            </a:r>
            <a:endParaRPr lang="en-US" sz="800">
              <a:solidFill>
                <a:schemeClr val="bg1">
                  <a:lumMod val="50000"/>
                </a:schemeClr>
              </a:solidFill>
              <a:latin typeface="Open Sauce One" pitchFamily="2" charset="0"/>
            </a:endParaRPr>
          </a:p>
        </p:txBody>
      </p:sp>
      <p:sp>
        <p:nvSpPr>
          <p:cNvPr id="173" name="Szövegdoboz 172">
            <a:extLst>
              <a:ext uri="{FF2B5EF4-FFF2-40B4-BE49-F238E27FC236}">
                <a16:creationId xmlns:a16="http://schemas.microsoft.com/office/drawing/2014/main" id="{0705DED6-81DB-AC0A-CA33-7F50D1885002}"/>
              </a:ext>
            </a:extLst>
          </p:cNvPr>
          <p:cNvSpPr txBox="1"/>
          <p:nvPr/>
        </p:nvSpPr>
        <p:spPr>
          <a:xfrm>
            <a:off x="4389025" y="4554840"/>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End-to-End</a:t>
            </a:r>
            <a:endParaRPr lang="en-US" sz="800">
              <a:solidFill>
                <a:schemeClr val="bg1">
                  <a:lumMod val="50000"/>
                </a:schemeClr>
              </a:solidFill>
              <a:latin typeface="Open Sauce One" pitchFamily="2" charset="0"/>
            </a:endParaRPr>
          </a:p>
        </p:txBody>
      </p:sp>
      <p:sp>
        <p:nvSpPr>
          <p:cNvPr id="174" name="Szövegdoboz 173">
            <a:extLst>
              <a:ext uri="{FF2B5EF4-FFF2-40B4-BE49-F238E27FC236}">
                <a16:creationId xmlns:a16="http://schemas.microsoft.com/office/drawing/2014/main" id="{440211D1-E9F8-CE16-876B-7D1719EF8698}"/>
              </a:ext>
            </a:extLst>
          </p:cNvPr>
          <p:cNvSpPr txBox="1"/>
          <p:nvPr/>
        </p:nvSpPr>
        <p:spPr>
          <a:xfrm>
            <a:off x="5205433" y="4554840"/>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Easy/Solid</a:t>
            </a:r>
            <a:endParaRPr lang="en-US" sz="800">
              <a:solidFill>
                <a:schemeClr val="bg1">
                  <a:lumMod val="50000"/>
                </a:schemeClr>
              </a:solidFill>
              <a:latin typeface="Open Sauce One" pitchFamily="2" charset="0"/>
            </a:endParaRPr>
          </a:p>
        </p:txBody>
      </p:sp>
      <p:sp>
        <p:nvSpPr>
          <p:cNvPr id="175" name="Szövegdoboz 174">
            <a:extLst>
              <a:ext uri="{FF2B5EF4-FFF2-40B4-BE49-F238E27FC236}">
                <a16:creationId xmlns:a16="http://schemas.microsoft.com/office/drawing/2014/main" id="{354C8961-74AB-35DD-3046-B468608BBF48}"/>
              </a:ext>
            </a:extLst>
          </p:cNvPr>
          <p:cNvSpPr txBox="1"/>
          <p:nvPr/>
        </p:nvSpPr>
        <p:spPr>
          <a:xfrm>
            <a:off x="6021841" y="455484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Document Ingestion</a:t>
            </a:r>
            <a:endParaRPr lang="en-US" sz="800">
              <a:solidFill>
                <a:schemeClr val="bg1">
                  <a:lumMod val="50000"/>
                </a:schemeClr>
              </a:solidFill>
              <a:latin typeface="Open Sauce One" pitchFamily="2" charset="0"/>
            </a:endParaRPr>
          </a:p>
        </p:txBody>
      </p:sp>
      <p:sp>
        <p:nvSpPr>
          <p:cNvPr id="176" name="Szövegdoboz 175">
            <a:extLst>
              <a:ext uri="{FF2B5EF4-FFF2-40B4-BE49-F238E27FC236}">
                <a16:creationId xmlns:a16="http://schemas.microsoft.com/office/drawing/2014/main" id="{E25D4F53-D6C9-8281-1ABF-DF2865C9731E}"/>
              </a:ext>
            </a:extLst>
          </p:cNvPr>
          <p:cNvSpPr txBox="1"/>
          <p:nvPr/>
        </p:nvSpPr>
        <p:spPr>
          <a:xfrm>
            <a:off x="6834015" y="455484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Document Check</a:t>
            </a:r>
            <a:endParaRPr lang="en-US" sz="800">
              <a:solidFill>
                <a:schemeClr val="bg1">
                  <a:lumMod val="50000"/>
                </a:schemeClr>
              </a:solidFill>
              <a:latin typeface="Open Sauce One" pitchFamily="2" charset="0"/>
            </a:endParaRPr>
          </a:p>
        </p:txBody>
      </p:sp>
      <p:sp>
        <p:nvSpPr>
          <p:cNvPr id="177" name="Szövegdoboz 176">
            <a:extLst>
              <a:ext uri="{FF2B5EF4-FFF2-40B4-BE49-F238E27FC236}">
                <a16:creationId xmlns:a16="http://schemas.microsoft.com/office/drawing/2014/main" id="{5C4F94F8-35AF-0DD1-7533-BA733A350894}"/>
              </a:ext>
            </a:extLst>
          </p:cNvPr>
          <p:cNvSpPr txBox="1"/>
          <p:nvPr/>
        </p:nvSpPr>
        <p:spPr>
          <a:xfrm>
            <a:off x="7654657" y="455484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Quality/</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Achievement</a:t>
            </a:r>
            <a:endParaRPr lang="en-US" sz="800">
              <a:solidFill>
                <a:schemeClr val="bg1">
                  <a:lumMod val="50000"/>
                </a:schemeClr>
              </a:solidFill>
              <a:latin typeface="Open Sauce One" pitchFamily="2" charset="0"/>
            </a:endParaRPr>
          </a:p>
        </p:txBody>
      </p:sp>
      <p:sp>
        <p:nvSpPr>
          <p:cNvPr id="178" name="Szövegdoboz 177">
            <a:extLst>
              <a:ext uri="{FF2B5EF4-FFF2-40B4-BE49-F238E27FC236}">
                <a16:creationId xmlns:a16="http://schemas.microsoft.com/office/drawing/2014/main" id="{B9E1BE3E-10C5-E3A5-D635-D1418C4B9B76}"/>
              </a:ext>
            </a:extLst>
          </p:cNvPr>
          <p:cNvSpPr txBox="1"/>
          <p:nvPr/>
        </p:nvSpPr>
        <p:spPr>
          <a:xfrm>
            <a:off x="8475299" y="4554840"/>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Deploy AI</a:t>
            </a:r>
            <a:endParaRPr lang="en-US" sz="800">
              <a:solidFill>
                <a:schemeClr val="bg1">
                  <a:lumMod val="50000"/>
                </a:schemeClr>
              </a:solidFill>
              <a:latin typeface="Open Sauce One" pitchFamily="2" charset="0"/>
            </a:endParaRPr>
          </a:p>
        </p:txBody>
      </p:sp>
      <p:sp>
        <p:nvSpPr>
          <p:cNvPr id="179" name="Szövegdoboz 178">
            <a:extLst>
              <a:ext uri="{FF2B5EF4-FFF2-40B4-BE49-F238E27FC236}">
                <a16:creationId xmlns:a16="http://schemas.microsoft.com/office/drawing/2014/main" id="{3A93E8E4-6DEA-2562-8E6A-EF81669F3B55}"/>
              </a:ext>
            </a:extLst>
          </p:cNvPr>
          <p:cNvSpPr txBox="1"/>
          <p:nvPr/>
        </p:nvSpPr>
        <p:spPr>
          <a:xfrm>
            <a:off x="9287473" y="455484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Data Encryption</a:t>
            </a:r>
            <a:endParaRPr lang="en-US" sz="800">
              <a:solidFill>
                <a:schemeClr val="bg1">
                  <a:lumMod val="50000"/>
                </a:schemeClr>
              </a:solidFill>
              <a:latin typeface="Open Sauce One" pitchFamily="2" charset="0"/>
            </a:endParaRPr>
          </a:p>
        </p:txBody>
      </p:sp>
      <p:sp>
        <p:nvSpPr>
          <p:cNvPr id="180" name="Szövegdoboz 179">
            <a:extLst>
              <a:ext uri="{FF2B5EF4-FFF2-40B4-BE49-F238E27FC236}">
                <a16:creationId xmlns:a16="http://schemas.microsoft.com/office/drawing/2014/main" id="{9F4010CB-05B2-6D17-BF23-A1543B86BA1C}"/>
              </a:ext>
            </a:extLst>
          </p:cNvPr>
          <p:cNvSpPr txBox="1"/>
          <p:nvPr/>
        </p:nvSpPr>
        <p:spPr>
          <a:xfrm>
            <a:off x="10103881" y="455484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ustomize/</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Variety</a:t>
            </a:r>
            <a:endParaRPr lang="en-US" sz="800">
              <a:solidFill>
                <a:schemeClr val="bg1">
                  <a:lumMod val="50000"/>
                </a:schemeClr>
              </a:solidFill>
              <a:latin typeface="Open Sauce One" pitchFamily="2" charset="0"/>
            </a:endParaRPr>
          </a:p>
        </p:txBody>
      </p:sp>
      <p:sp>
        <p:nvSpPr>
          <p:cNvPr id="181" name="Szövegdoboz 180">
            <a:extLst>
              <a:ext uri="{FF2B5EF4-FFF2-40B4-BE49-F238E27FC236}">
                <a16:creationId xmlns:a16="http://schemas.microsoft.com/office/drawing/2014/main" id="{35561BD2-2C48-BAD8-3ACA-9A2764AA0BB6}"/>
              </a:ext>
            </a:extLst>
          </p:cNvPr>
          <p:cNvSpPr txBox="1"/>
          <p:nvPr/>
        </p:nvSpPr>
        <p:spPr>
          <a:xfrm>
            <a:off x="306985" y="5659467"/>
            <a:ext cx="773503" cy="134396"/>
          </a:xfrm>
          <a:prstGeom prst="rect">
            <a:avLst/>
          </a:prstGeom>
          <a:noFill/>
        </p:spPr>
        <p:txBody>
          <a:bodyPr wrap="square" lIns="0" tIns="0" rIns="0" bIns="0">
            <a:spAutoFit/>
          </a:bodyPr>
          <a:lstStyle/>
          <a:p>
            <a:pPr algn="ctr">
              <a:lnSpc>
                <a:spcPct val="120000"/>
              </a:lnSpc>
            </a:pPr>
            <a:r>
              <a:rPr lang="en-GB" sz="800">
                <a:solidFill>
                  <a:schemeClr val="bg1">
                    <a:lumMod val="50000"/>
                  </a:schemeClr>
                </a:solidFill>
                <a:latin typeface="Open Sauce One" pitchFamily="2" charset="0"/>
              </a:rPr>
              <a:t>404/Error</a:t>
            </a:r>
            <a:endParaRPr lang="en-US" sz="800">
              <a:solidFill>
                <a:schemeClr val="bg1">
                  <a:lumMod val="50000"/>
                </a:schemeClr>
              </a:solidFill>
              <a:latin typeface="Open Sauce One" pitchFamily="2" charset="0"/>
            </a:endParaRPr>
          </a:p>
        </p:txBody>
      </p:sp>
      <p:sp>
        <p:nvSpPr>
          <p:cNvPr id="182" name="Szövegdoboz 181">
            <a:extLst>
              <a:ext uri="{FF2B5EF4-FFF2-40B4-BE49-F238E27FC236}">
                <a16:creationId xmlns:a16="http://schemas.microsoft.com/office/drawing/2014/main" id="{0585C0EA-9672-0E84-0478-9532A252FE89}"/>
              </a:ext>
            </a:extLst>
          </p:cNvPr>
          <p:cNvSpPr txBox="1"/>
          <p:nvPr/>
        </p:nvSpPr>
        <p:spPr>
          <a:xfrm>
            <a:off x="1123393" y="5659467"/>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Play/</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Automation</a:t>
            </a:r>
            <a:endParaRPr lang="en-US" sz="800">
              <a:solidFill>
                <a:schemeClr val="bg1">
                  <a:lumMod val="50000"/>
                </a:schemeClr>
              </a:solidFill>
              <a:latin typeface="Open Sauce One" pitchFamily="2" charset="0"/>
            </a:endParaRPr>
          </a:p>
        </p:txBody>
      </p:sp>
      <p:sp>
        <p:nvSpPr>
          <p:cNvPr id="183" name="Szövegdoboz 182">
            <a:extLst>
              <a:ext uri="{FF2B5EF4-FFF2-40B4-BE49-F238E27FC236}">
                <a16:creationId xmlns:a16="http://schemas.microsoft.com/office/drawing/2014/main" id="{2ED7F85E-2615-C6E5-B66A-281A93BD4194}"/>
              </a:ext>
            </a:extLst>
          </p:cNvPr>
          <p:cNvSpPr txBox="1"/>
          <p:nvPr/>
        </p:nvSpPr>
        <p:spPr>
          <a:xfrm>
            <a:off x="1939801" y="5659467"/>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Business/</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hart</a:t>
            </a:r>
            <a:endParaRPr lang="en-US" sz="800">
              <a:solidFill>
                <a:schemeClr val="bg1">
                  <a:lumMod val="50000"/>
                </a:schemeClr>
              </a:solidFill>
              <a:latin typeface="Open Sauce One" pitchFamily="2" charset="0"/>
            </a:endParaRPr>
          </a:p>
        </p:txBody>
      </p:sp>
      <p:sp>
        <p:nvSpPr>
          <p:cNvPr id="184" name="Szövegdoboz 183">
            <a:extLst>
              <a:ext uri="{FF2B5EF4-FFF2-40B4-BE49-F238E27FC236}">
                <a16:creationId xmlns:a16="http://schemas.microsoft.com/office/drawing/2014/main" id="{0CD6F415-A8F4-AD9F-2CC4-5629A25CD82A}"/>
              </a:ext>
            </a:extLst>
          </p:cNvPr>
          <p:cNvSpPr txBox="1"/>
          <p:nvPr/>
        </p:nvSpPr>
        <p:spPr>
          <a:xfrm>
            <a:off x="2756209" y="565477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heckpoint/</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Location</a:t>
            </a:r>
            <a:endParaRPr lang="en-US" sz="800">
              <a:solidFill>
                <a:schemeClr val="bg1">
                  <a:lumMod val="50000"/>
                </a:schemeClr>
              </a:solidFill>
              <a:latin typeface="Open Sauce One" pitchFamily="2" charset="0"/>
            </a:endParaRPr>
          </a:p>
        </p:txBody>
      </p:sp>
      <p:sp>
        <p:nvSpPr>
          <p:cNvPr id="185" name="Szövegdoboz 184">
            <a:extLst>
              <a:ext uri="{FF2B5EF4-FFF2-40B4-BE49-F238E27FC236}">
                <a16:creationId xmlns:a16="http://schemas.microsoft.com/office/drawing/2014/main" id="{7575E9F5-3AED-FAEF-C45C-EEE36B4513C5}"/>
              </a:ext>
            </a:extLst>
          </p:cNvPr>
          <p:cNvSpPr txBox="1"/>
          <p:nvPr/>
        </p:nvSpPr>
        <p:spPr>
          <a:xfrm>
            <a:off x="3572617" y="565477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Documents/</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lassification</a:t>
            </a:r>
            <a:endParaRPr lang="en-US" sz="800">
              <a:solidFill>
                <a:schemeClr val="bg1">
                  <a:lumMod val="50000"/>
                </a:schemeClr>
              </a:solidFill>
              <a:latin typeface="Open Sauce One" pitchFamily="2" charset="0"/>
            </a:endParaRPr>
          </a:p>
        </p:txBody>
      </p:sp>
      <p:sp>
        <p:nvSpPr>
          <p:cNvPr id="186" name="Szövegdoboz 185">
            <a:extLst>
              <a:ext uri="{FF2B5EF4-FFF2-40B4-BE49-F238E27FC236}">
                <a16:creationId xmlns:a16="http://schemas.microsoft.com/office/drawing/2014/main" id="{84930E65-C5B0-C82A-D9D3-7C6D1C51A475}"/>
              </a:ext>
            </a:extLst>
          </p:cNvPr>
          <p:cNvSpPr txBox="1"/>
          <p:nvPr/>
        </p:nvSpPr>
        <p:spPr>
          <a:xfrm>
            <a:off x="4389025" y="5654770"/>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loud</a:t>
            </a:r>
            <a:endParaRPr lang="en-US" sz="800">
              <a:solidFill>
                <a:schemeClr val="bg1">
                  <a:lumMod val="50000"/>
                </a:schemeClr>
              </a:solidFill>
              <a:latin typeface="Open Sauce One" pitchFamily="2" charset="0"/>
            </a:endParaRPr>
          </a:p>
        </p:txBody>
      </p:sp>
      <p:sp>
        <p:nvSpPr>
          <p:cNvPr id="187" name="Szövegdoboz 186">
            <a:extLst>
              <a:ext uri="{FF2B5EF4-FFF2-40B4-BE49-F238E27FC236}">
                <a16:creationId xmlns:a16="http://schemas.microsoft.com/office/drawing/2014/main" id="{955AC07F-33D7-0EE4-4614-0BDF45C97F35}"/>
              </a:ext>
            </a:extLst>
          </p:cNvPr>
          <p:cNvSpPr txBox="1"/>
          <p:nvPr/>
        </p:nvSpPr>
        <p:spPr>
          <a:xfrm>
            <a:off x="5205433" y="565477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onfigure/</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Settings</a:t>
            </a:r>
            <a:endParaRPr lang="en-US" sz="800">
              <a:solidFill>
                <a:schemeClr val="bg1">
                  <a:lumMod val="50000"/>
                </a:schemeClr>
              </a:solidFill>
              <a:latin typeface="Open Sauce One" pitchFamily="2" charset="0"/>
            </a:endParaRPr>
          </a:p>
        </p:txBody>
      </p:sp>
      <p:sp>
        <p:nvSpPr>
          <p:cNvPr id="188" name="Szövegdoboz 187">
            <a:extLst>
              <a:ext uri="{FF2B5EF4-FFF2-40B4-BE49-F238E27FC236}">
                <a16:creationId xmlns:a16="http://schemas.microsoft.com/office/drawing/2014/main" id="{D99BE89C-0B53-DD4C-13EC-EC7A1396E5EE}"/>
              </a:ext>
            </a:extLst>
          </p:cNvPr>
          <p:cNvSpPr txBox="1"/>
          <p:nvPr/>
        </p:nvSpPr>
        <p:spPr>
          <a:xfrm>
            <a:off x="6021841" y="565477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ontrol/</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Edit</a:t>
            </a:r>
            <a:endParaRPr lang="en-US" sz="800">
              <a:solidFill>
                <a:schemeClr val="bg1">
                  <a:lumMod val="50000"/>
                </a:schemeClr>
              </a:solidFill>
              <a:latin typeface="Open Sauce One" pitchFamily="2" charset="0"/>
            </a:endParaRPr>
          </a:p>
        </p:txBody>
      </p:sp>
      <p:sp>
        <p:nvSpPr>
          <p:cNvPr id="189" name="Szövegdoboz 188">
            <a:extLst>
              <a:ext uri="{FF2B5EF4-FFF2-40B4-BE49-F238E27FC236}">
                <a16:creationId xmlns:a16="http://schemas.microsoft.com/office/drawing/2014/main" id="{DB6C48D6-BBD7-30C3-6DF0-26B0FA4E62D0}"/>
              </a:ext>
            </a:extLst>
          </p:cNvPr>
          <p:cNvSpPr txBox="1"/>
          <p:nvPr/>
        </p:nvSpPr>
        <p:spPr>
          <a:xfrm>
            <a:off x="6834015" y="5654770"/>
            <a:ext cx="773503" cy="282129"/>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Education/</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Knowledge</a:t>
            </a:r>
            <a:endParaRPr lang="en-US" sz="800">
              <a:solidFill>
                <a:schemeClr val="bg1">
                  <a:lumMod val="50000"/>
                </a:schemeClr>
              </a:solidFill>
              <a:latin typeface="Open Sauce One" pitchFamily="2" charset="0"/>
            </a:endParaRPr>
          </a:p>
        </p:txBody>
      </p:sp>
      <p:sp>
        <p:nvSpPr>
          <p:cNvPr id="190" name="Szövegdoboz 189">
            <a:extLst>
              <a:ext uri="{FF2B5EF4-FFF2-40B4-BE49-F238E27FC236}">
                <a16:creationId xmlns:a16="http://schemas.microsoft.com/office/drawing/2014/main" id="{0A12EFCA-2840-F400-0A8B-BA2407F65119}"/>
              </a:ext>
            </a:extLst>
          </p:cNvPr>
          <p:cNvSpPr txBox="1"/>
          <p:nvPr/>
        </p:nvSpPr>
        <p:spPr>
          <a:xfrm>
            <a:off x="7654657" y="5654770"/>
            <a:ext cx="773503" cy="429861"/>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Cost Efficiency/</a:t>
            </a:r>
            <a:b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b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Pricing</a:t>
            </a:r>
            <a:endParaRPr lang="en-US" sz="800">
              <a:solidFill>
                <a:schemeClr val="bg1">
                  <a:lumMod val="50000"/>
                </a:schemeClr>
              </a:solidFill>
              <a:latin typeface="Open Sauce One" pitchFamily="2" charset="0"/>
            </a:endParaRPr>
          </a:p>
        </p:txBody>
      </p:sp>
      <p:sp>
        <p:nvSpPr>
          <p:cNvPr id="192" name="Szövegdoboz 191">
            <a:extLst>
              <a:ext uri="{FF2B5EF4-FFF2-40B4-BE49-F238E27FC236}">
                <a16:creationId xmlns:a16="http://schemas.microsoft.com/office/drawing/2014/main" id="{F4F7327F-D467-68DC-2EB7-A303401793B6}"/>
              </a:ext>
            </a:extLst>
          </p:cNvPr>
          <p:cNvSpPr txBox="1"/>
          <p:nvPr/>
        </p:nvSpPr>
        <p:spPr>
          <a:xfrm>
            <a:off x="9287473" y="5654770"/>
            <a:ext cx="773503" cy="134396"/>
          </a:xfrm>
          <a:prstGeom prst="rect">
            <a:avLst/>
          </a:prstGeom>
          <a:noFill/>
        </p:spPr>
        <p:txBody>
          <a:bodyPr wrap="square" lIns="0" tIns="0" rIns="0" bIns="0">
            <a:spAutoFit/>
          </a:bodyPr>
          <a:lstStyle/>
          <a:p>
            <a:pPr algn="ctr">
              <a:lnSpc>
                <a:spcPct val="120000"/>
              </a:lnSpc>
            </a:pPr>
            <a:r>
              <a:rPr kumimoji="0" lang="en-GB" sz="800" b="0" i="0" u="none" strike="noStrike" kern="1200" cap="none" spc="0" normalizeH="0" baseline="0" noProof="0">
                <a:ln>
                  <a:noFill/>
                </a:ln>
                <a:solidFill>
                  <a:schemeClr val="bg1">
                    <a:lumMod val="50000"/>
                  </a:schemeClr>
                </a:solidFill>
                <a:effectLst/>
                <a:uLnTx/>
                <a:uFillTx/>
                <a:latin typeface="Open Sauce One" pitchFamily="2" charset="0"/>
              </a:rPr>
              <a:t>Error</a:t>
            </a:r>
            <a:endParaRPr lang="en-US" sz="800">
              <a:solidFill>
                <a:schemeClr val="bg1">
                  <a:lumMod val="50000"/>
                </a:schemeClr>
              </a:solidFill>
              <a:latin typeface="Open Sauce One" pitchFamily="2" charset="0"/>
            </a:endParaRPr>
          </a:p>
        </p:txBody>
      </p:sp>
    </p:spTree>
    <p:extLst>
      <p:ext uri="{BB962C8B-B14F-4D97-AF65-F5344CB8AC3E}">
        <p14:creationId xmlns:p14="http://schemas.microsoft.com/office/powerpoint/2010/main" val="18909004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93DC07-176B-E5F5-05D9-C1A7D9A442DB}"/>
              </a:ext>
            </a:extLst>
          </p:cNvPr>
          <p:cNvGraphicFramePr>
            <a:graphicFrameLocks noChangeAspect="1"/>
          </p:cNvGraphicFramePr>
          <p:nvPr>
            <p:custDataLst>
              <p:tags r:id="rId1"/>
            </p:custDataLst>
            <p:extLst>
              <p:ext uri="{D42A27DB-BD31-4B8C-83A1-F6EECF244321}">
                <p14:modId xmlns:p14="http://schemas.microsoft.com/office/powerpoint/2010/main" val="4018733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1593DC07-176B-E5F5-05D9-C1A7D9A442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Table style 1</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41</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esources</a:t>
            </a:r>
          </a:p>
        </p:txBody>
      </p:sp>
      <p:graphicFrame>
        <p:nvGraphicFramePr>
          <p:cNvPr id="6" name="Table 6">
            <a:extLst>
              <a:ext uri="{FF2B5EF4-FFF2-40B4-BE49-F238E27FC236}">
                <a16:creationId xmlns:a16="http://schemas.microsoft.com/office/drawing/2014/main" id="{A447D38A-BC4A-6237-DA3C-1B8FAE09896D}"/>
              </a:ext>
            </a:extLst>
          </p:cNvPr>
          <p:cNvGraphicFramePr>
            <a:graphicFrameLocks noGrp="1"/>
          </p:cNvGraphicFramePr>
          <p:nvPr>
            <p:extLst>
              <p:ext uri="{D42A27DB-BD31-4B8C-83A1-F6EECF244321}">
                <p14:modId xmlns:p14="http://schemas.microsoft.com/office/powerpoint/2010/main" val="1699369836"/>
              </p:ext>
            </p:extLst>
          </p:nvPr>
        </p:nvGraphicFramePr>
        <p:xfrm>
          <a:off x="407987" y="1832737"/>
          <a:ext cx="11341098" cy="3588645"/>
        </p:xfrm>
        <a:graphic>
          <a:graphicData uri="http://schemas.openxmlformats.org/drawingml/2006/table">
            <a:tbl>
              <a:tblPr firstRow="1" bandRow="1">
                <a:tableStyleId>{5C22544A-7EE6-4342-B048-85BDC9FD1C3A}</a:tableStyleId>
              </a:tblPr>
              <a:tblGrid>
                <a:gridCol w="859981">
                  <a:extLst>
                    <a:ext uri="{9D8B030D-6E8A-4147-A177-3AD203B41FA5}">
                      <a16:colId xmlns:a16="http://schemas.microsoft.com/office/drawing/2014/main" val="1668372078"/>
                    </a:ext>
                  </a:extLst>
                </a:gridCol>
                <a:gridCol w="2007921">
                  <a:extLst>
                    <a:ext uri="{9D8B030D-6E8A-4147-A177-3AD203B41FA5}">
                      <a16:colId xmlns:a16="http://schemas.microsoft.com/office/drawing/2014/main" val="3392869195"/>
                    </a:ext>
                  </a:extLst>
                </a:gridCol>
                <a:gridCol w="2118299">
                  <a:extLst>
                    <a:ext uri="{9D8B030D-6E8A-4147-A177-3AD203B41FA5}">
                      <a16:colId xmlns:a16="http://schemas.microsoft.com/office/drawing/2014/main" val="3247310338"/>
                    </a:ext>
                  </a:extLst>
                </a:gridCol>
                <a:gridCol w="2118299">
                  <a:extLst>
                    <a:ext uri="{9D8B030D-6E8A-4147-A177-3AD203B41FA5}">
                      <a16:colId xmlns:a16="http://schemas.microsoft.com/office/drawing/2014/main" val="2961316966"/>
                    </a:ext>
                  </a:extLst>
                </a:gridCol>
                <a:gridCol w="2118299">
                  <a:extLst>
                    <a:ext uri="{9D8B030D-6E8A-4147-A177-3AD203B41FA5}">
                      <a16:colId xmlns:a16="http://schemas.microsoft.com/office/drawing/2014/main" val="2238210792"/>
                    </a:ext>
                  </a:extLst>
                </a:gridCol>
                <a:gridCol w="2118299">
                  <a:extLst>
                    <a:ext uri="{9D8B030D-6E8A-4147-A177-3AD203B41FA5}">
                      <a16:colId xmlns:a16="http://schemas.microsoft.com/office/drawing/2014/main" val="3112965645"/>
                    </a:ext>
                  </a:extLst>
                </a:gridCol>
              </a:tblGrid>
              <a:tr h="565686">
                <a:tc>
                  <a:txBody>
                    <a:bodyPr/>
                    <a:lstStyle/>
                    <a:p>
                      <a:pPr rtl="0"/>
                      <a:endParaRPr lang="en-GB" sz="1100">
                        <a:solidFill>
                          <a:schemeClr val="tx2"/>
                        </a:solidFill>
                        <a:latin typeface="Lato" panose="020F0502020204030203" pitchFamily="34" charset="0"/>
                        <a:ea typeface="Lato" panose="020F0502020204030203" pitchFamily="34" charset="0"/>
                        <a:cs typeface="Lato" panose="020F0502020204030203" pitchFamily="34" charset="0"/>
                      </a:endParaRPr>
                    </a:p>
                  </a:txBody>
                  <a:tcPr anchor="ctr">
                    <a:lnL w="12700" cmpd="sng">
                      <a:noFill/>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12700" cmpd="sng">
                      <a:noFill/>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817506681"/>
                  </a:ext>
                </a:extLst>
              </a:tr>
              <a:tr h="1026421">
                <a:tc>
                  <a:txBody>
                    <a:bodyPr/>
                    <a:lstStyle/>
                    <a:p>
                      <a:pPr algn="ctr" rtl="0"/>
                      <a:r>
                        <a:rPr lang="en-GB" sz="1050" b="1">
                          <a:solidFill>
                            <a:schemeClr val="tx1"/>
                          </a:solidFill>
                          <a:latin typeface="Open Sauce One"/>
                          <a:ea typeface="Lato"/>
                          <a:cs typeface="Lato"/>
                        </a:rPr>
                        <a:t>Lorem ipsum</a:t>
                      </a:r>
                    </a:p>
                    <a:p>
                      <a:pPr algn="ctr" rtl="0"/>
                      <a:endParaRPr lang="en-GB" sz="1050" b="1">
                        <a:solidFill>
                          <a:schemeClr val="tx1"/>
                        </a:solidFill>
                        <a:latin typeface="Open Sauce One" pitchFamily="2" charset="0"/>
                        <a:ea typeface="Lato"/>
                        <a:cs typeface="Lato"/>
                      </a:endParaRPr>
                    </a:p>
                  </a:txBody>
                  <a:tcPr anchor="ctr">
                    <a:lnL w="3175" cap="flat" cmpd="sng" algn="ctr">
                      <a:no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rtl="0"/>
                      <a:r>
                        <a:rPr lang="en-GB" sz="1050">
                          <a:solidFill>
                            <a:schemeClr val="tx1"/>
                          </a:solidFill>
                          <a:latin typeface="Open Sauce One"/>
                          <a:ea typeface="Lato"/>
                          <a:cs typeface="Lato"/>
                        </a:rPr>
                        <a:t>Lorem ipsum dolor sit amet, consetetur sadipscing elitr</a:t>
                      </a:r>
                      <a:endParaRPr lang="en-GB" sz="1050" b="1">
                        <a:solidFill>
                          <a:schemeClr val="tx1"/>
                        </a:solidFill>
                        <a:latin typeface="Open Sauce One"/>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050">
                          <a:solidFill>
                            <a:schemeClr val="tx1"/>
                          </a:solidFill>
                          <a:latin typeface="Open Sauce One"/>
                          <a:ea typeface="Lato"/>
                          <a:cs typeface="Lato"/>
                        </a:rPr>
                        <a:t>Lorem ipsum dolor sit amet, consetetur sadipscing elitr</a:t>
                      </a: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050">
                          <a:solidFill>
                            <a:schemeClr val="tx1"/>
                          </a:solidFill>
                          <a:latin typeface="Open Sauce One"/>
                          <a:ea typeface="Lato"/>
                          <a:cs typeface="Lato"/>
                        </a:rPr>
                        <a:t>Lorem ipsum dolor sit amet, consetetur sadipscing elitr</a:t>
                      </a: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050">
                          <a:solidFill>
                            <a:schemeClr val="tx1"/>
                          </a:solidFill>
                          <a:latin typeface="Open Sauce One"/>
                          <a:ea typeface="Lato"/>
                          <a:cs typeface="Lato"/>
                        </a:rPr>
                        <a:t>Lorem ipsum dolor sit amet, consetetur sadipscing elitr</a:t>
                      </a: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050">
                          <a:solidFill>
                            <a:schemeClr val="tx1"/>
                          </a:solidFill>
                          <a:latin typeface="Open Sauce One"/>
                          <a:ea typeface="Lato"/>
                          <a:cs typeface="Lato"/>
                        </a:rPr>
                        <a:t>Lorem ipsum dolor sit amet, consetetur sadipscing elitr</a:t>
                      </a:r>
                      <a:endParaRPr lang="en-GB" sz="1050" b="0">
                        <a:solidFill>
                          <a:schemeClr val="tx1"/>
                        </a:solidFill>
                        <a:latin typeface="Open Sauce One"/>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2592930"/>
                  </a:ext>
                </a:extLst>
              </a:tr>
              <a:tr h="1497403">
                <a:tc>
                  <a:txBody>
                    <a:bodyPr/>
                    <a:lstStyle/>
                    <a:p>
                      <a:pPr algn="ctr" rtl="0"/>
                      <a:r>
                        <a:rPr lang="en-GB" sz="1050" b="1">
                          <a:solidFill>
                            <a:schemeClr val="tx1"/>
                          </a:solidFill>
                          <a:latin typeface="Open Sauce One"/>
                          <a:ea typeface="Lato"/>
                          <a:cs typeface="Lato"/>
                        </a:rPr>
                        <a:t>Lorem ipsum</a:t>
                      </a:r>
                    </a:p>
                    <a:p>
                      <a:pPr algn="ctr" rtl="0"/>
                      <a:endParaRPr lang="en-GB" sz="1050" b="1">
                        <a:solidFill>
                          <a:schemeClr val="tx1"/>
                        </a:solidFill>
                        <a:latin typeface="Open Sauce One" pitchFamily="2" charset="0"/>
                        <a:ea typeface="Lato"/>
                        <a:cs typeface="Lato"/>
                      </a:endParaRPr>
                    </a:p>
                    <a:p>
                      <a:pPr algn="ctr" rtl="0"/>
                      <a:endParaRPr lang="en-GB" sz="1050" b="1">
                        <a:solidFill>
                          <a:schemeClr val="tx1"/>
                        </a:solidFill>
                        <a:latin typeface="Open Sauce One" pitchFamily="2" charset="0"/>
                        <a:ea typeface="Lato"/>
                        <a:cs typeface="Lato"/>
                      </a:endParaRPr>
                    </a:p>
                  </a:txBody>
                  <a:tcPr anchor="ctr">
                    <a:lnL w="3175" cap="flat" cmpd="sng" algn="ctr">
                      <a:no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285750" indent="-285750" algn="l" rtl="0">
                        <a:buFont typeface="Arial" panose="020B0604020202020204" pitchFamily="34" charset="0"/>
                        <a:buChar char="•"/>
                      </a:pPr>
                      <a:endParaRPr lang="en-GB" sz="1050">
                        <a:solidFill>
                          <a:schemeClr val="tx1"/>
                        </a:solidFill>
                        <a:highlight>
                          <a:srgbClr val="FFFF00"/>
                        </a:highlight>
                        <a:latin typeface="Open Sauce One" pitchFamily="2" charset="0"/>
                        <a:ea typeface="Lato"/>
                        <a:cs typeface="Lato"/>
                      </a:endParaRPr>
                    </a:p>
                    <a:p>
                      <a:pPr marL="139700" marR="0" lvl="0" indent="-1397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a:solidFill>
                            <a:schemeClr val="tx1"/>
                          </a:solidFill>
                          <a:latin typeface="Open Sauce One"/>
                          <a:ea typeface="Lato"/>
                          <a:cs typeface="Lato"/>
                        </a:rPr>
                        <a:t>Lorem ipsum dolor sit amet, consetetur sadipscing elitr</a:t>
                      </a:r>
                      <a:endParaRPr lang="en-GB" sz="1050">
                        <a:solidFill>
                          <a:schemeClr val="tx1"/>
                        </a:solidFill>
                        <a:latin typeface="Open Sauce One" pitchFamily="2" charset="0"/>
                        <a:ea typeface="Lato"/>
                        <a:cs typeface="Lato"/>
                      </a:endParaRPr>
                    </a:p>
                    <a:p>
                      <a:pPr marL="139700" marR="0" lvl="0" indent="-1397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a:solidFill>
                          <a:schemeClr val="tx1"/>
                        </a:solidFill>
                        <a:latin typeface="Open Sauce One" pitchFamily="2" charset="0"/>
                        <a:ea typeface="Lato"/>
                        <a:cs typeface="Lato"/>
                      </a:endParaRPr>
                    </a:p>
                    <a:p>
                      <a:pPr marL="139700" marR="0" lvl="0" indent="-1397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a:solidFill>
                            <a:schemeClr val="tx1"/>
                          </a:solidFill>
                          <a:latin typeface="Open Sauce One"/>
                          <a:ea typeface="Lato"/>
                          <a:cs typeface="Lato"/>
                        </a:rPr>
                        <a:t>Lorem ipsum</a:t>
                      </a: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9700" indent="-139700" algn="l" rtl="0">
                        <a:buFont typeface="Arial" panose="020B0604020202020204" pitchFamily="34" charset="0"/>
                        <a:buChar char="•"/>
                        <a:tabLst/>
                      </a:pPr>
                      <a:r>
                        <a:rPr lang="en-GB" sz="1050">
                          <a:solidFill>
                            <a:schemeClr val="tx1"/>
                          </a:solidFill>
                          <a:latin typeface="Open Sauce One"/>
                          <a:ea typeface="Lato"/>
                          <a:cs typeface="Lato"/>
                        </a:rPr>
                        <a:t>Lorem ipsum dolor sit amet, consetetur sadipscing elitr</a:t>
                      </a:r>
                      <a:endParaRPr lang="en-GB" sz="1050">
                        <a:solidFill>
                          <a:schemeClr val="tx1"/>
                        </a:solidFill>
                        <a:latin typeface="Open Sauce One" pitchFamily="2" charset="0"/>
                        <a:ea typeface="Lato"/>
                        <a:cs typeface="Lato"/>
                      </a:endParaRPr>
                    </a:p>
                    <a:p>
                      <a:pPr marL="139700" indent="-139700" algn="l" rtl="0">
                        <a:buFont typeface="Arial" panose="020B0604020202020204" pitchFamily="34" charset="0"/>
                        <a:buChar char="•"/>
                        <a:tabLst/>
                      </a:pPr>
                      <a:endParaRPr lang="en-GB" sz="1050">
                        <a:solidFill>
                          <a:schemeClr val="tx1"/>
                        </a:solidFill>
                        <a:latin typeface="Open Sauce One" pitchFamily="2" charset="0"/>
                        <a:ea typeface="Lato"/>
                        <a:cs typeface="Lato"/>
                      </a:endParaRPr>
                    </a:p>
                    <a:p>
                      <a:pPr marL="139700" indent="-139700" algn="l" rtl="0">
                        <a:buFont typeface="Arial" panose="020B0604020202020204" pitchFamily="34" charset="0"/>
                        <a:buChar char="•"/>
                        <a:tabLst/>
                      </a:pPr>
                      <a:r>
                        <a:rPr lang="en-GB" sz="1050">
                          <a:solidFill>
                            <a:schemeClr val="tx1"/>
                          </a:solidFill>
                          <a:latin typeface="Open Sauce One"/>
                          <a:ea typeface="Lato"/>
                          <a:cs typeface="Lato"/>
                        </a:rPr>
                        <a:t>Lorem ipsum</a:t>
                      </a:r>
                    </a:p>
                    <a:p>
                      <a:pPr marL="139700" indent="-139700" algn="l" rtl="0">
                        <a:buFont typeface="Arial" panose="020B0604020202020204" pitchFamily="34" charset="0"/>
                        <a:buChar char="•"/>
                        <a:tabLst/>
                      </a:pPr>
                      <a:endParaRPr lang="en-GB" sz="1050">
                        <a:solidFill>
                          <a:schemeClr val="tx1"/>
                        </a:solidFill>
                        <a:latin typeface="Open Sauce One" pitchFamily="2" charset="0"/>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a:buFont typeface="Arial" panose="020B0604020202020204" pitchFamily="34" charset="0"/>
                        <a:buChar char="•"/>
                      </a:pPr>
                      <a:r>
                        <a:rPr lang="en-GB" sz="1050">
                          <a:solidFill>
                            <a:schemeClr val="tx1"/>
                          </a:solidFill>
                          <a:latin typeface="Open Sauce One"/>
                          <a:ea typeface="Lato"/>
                          <a:cs typeface="Lato"/>
                        </a:rPr>
                        <a:t>Lorem ipsum dolor sit amet, consetetur sadipscing elitr</a:t>
                      </a:r>
                      <a:endParaRPr lang="en-GB" sz="1050">
                        <a:solidFill>
                          <a:schemeClr val="tx1"/>
                        </a:solidFill>
                        <a:latin typeface="Open Sauce One" pitchFamily="2" charset="0"/>
                        <a:ea typeface="Lato"/>
                        <a:cs typeface="Lato"/>
                      </a:endParaRPr>
                    </a:p>
                    <a:p>
                      <a:pPr marL="171450" indent="-171450" algn="l" rtl="0">
                        <a:buFont typeface="Arial" panose="020B0604020202020204" pitchFamily="34" charset="0"/>
                        <a:buChar char="•"/>
                      </a:pPr>
                      <a:endParaRPr lang="en-GB" sz="1050">
                        <a:solidFill>
                          <a:schemeClr val="tx1"/>
                        </a:solidFill>
                        <a:latin typeface="Open Sauce One" pitchFamily="2" charset="0"/>
                        <a:ea typeface="Lato"/>
                        <a:cs typeface="Lato"/>
                      </a:endParaRPr>
                    </a:p>
                    <a:p>
                      <a:pPr marL="171450" indent="-171450" algn="l" rtl="0">
                        <a:buFont typeface="Arial" panose="020B0604020202020204" pitchFamily="34" charset="0"/>
                        <a:buChar char="•"/>
                      </a:pPr>
                      <a:r>
                        <a:rPr lang="en-GB" sz="1050">
                          <a:solidFill>
                            <a:schemeClr val="tx1"/>
                          </a:solidFill>
                          <a:latin typeface="Open Sauce One"/>
                          <a:ea typeface="Lato"/>
                          <a:cs typeface="Lato"/>
                        </a:rPr>
                        <a:t>Lorem ipsum</a:t>
                      </a:r>
                    </a:p>
                    <a:p>
                      <a:pPr marL="171450" indent="-171450" algn="l" rtl="0">
                        <a:buFont typeface="Arial" panose="020B0604020202020204" pitchFamily="34" charset="0"/>
                        <a:buChar char="•"/>
                      </a:pPr>
                      <a:endParaRPr lang="en-GB" sz="1050">
                        <a:solidFill>
                          <a:schemeClr val="tx1"/>
                        </a:solidFill>
                        <a:latin typeface="Open Sauce One" pitchFamily="2" charset="0"/>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a:buFont typeface="Arial" panose="020B0604020202020204" pitchFamily="34" charset="0"/>
                        <a:buChar char="•"/>
                      </a:pPr>
                      <a:r>
                        <a:rPr lang="en-GB" sz="1050">
                          <a:solidFill>
                            <a:schemeClr val="tx1"/>
                          </a:solidFill>
                          <a:latin typeface="Open Sauce One"/>
                          <a:ea typeface="Lato"/>
                          <a:cs typeface="Lato"/>
                        </a:rPr>
                        <a:t>Lorem ipsum dolor sit amet, consetetur sadipscing elitr</a:t>
                      </a:r>
                      <a:endParaRPr lang="en-GB" sz="1050">
                        <a:solidFill>
                          <a:schemeClr val="tx1"/>
                        </a:solidFill>
                        <a:latin typeface="Open Sauce One" pitchFamily="2" charset="0"/>
                        <a:ea typeface="Lato"/>
                        <a:cs typeface="Lato"/>
                      </a:endParaRPr>
                    </a:p>
                    <a:p>
                      <a:pPr marL="171450" indent="-171450" algn="l" rtl="0">
                        <a:buFont typeface="Arial" panose="020B0604020202020204" pitchFamily="34" charset="0"/>
                        <a:buChar char="•"/>
                      </a:pPr>
                      <a:endParaRPr lang="en-GB" sz="1050">
                        <a:solidFill>
                          <a:schemeClr val="tx1"/>
                        </a:solidFill>
                        <a:latin typeface="Open Sauce One" pitchFamily="2" charset="0"/>
                        <a:ea typeface="Lato"/>
                        <a:cs typeface="Lato"/>
                      </a:endParaRPr>
                    </a:p>
                    <a:p>
                      <a:pPr marL="171450" indent="-171450" algn="l" rtl="0">
                        <a:buFont typeface="Arial" panose="020B0604020202020204" pitchFamily="34" charset="0"/>
                        <a:buChar char="•"/>
                      </a:pPr>
                      <a:r>
                        <a:rPr lang="en-GB" sz="1050">
                          <a:solidFill>
                            <a:schemeClr val="tx1"/>
                          </a:solidFill>
                          <a:latin typeface="Open Sauce One"/>
                          <a:ea typeface="Lato"/>
                          <a:cs typeface="Lato"/>
                        </a:rPr>
                        <a:t>Lorem ipsum</a:t>
                      </a:r>
                    </a:p>
                    <a:p>
                      <a:pPr marL="171450" indent="-171450" algn="l" rtl="0">
                        <a:buFont typeface="Arial" panose="020B0604020202020204" pitchFamily="34" charset="0"/>
                        <a:buChar char="•"/>
                      </a:pPr>
                      <a:endParaRPr lang="en-GB" sz="1050">
                        <a:solidFill>
                          <a:schemeClr val="tx1"/>
                        </a:solidFill>
                        <a:latin typeface="Open Sauce One" pitchFamily="2" charset="0"/>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a:solidFill>
                            <a:schemeClr val="tx1"/>
                          </a:solidFill>
                          <a:latin typeface="Open Sauce One"/>
                          <a:ea typeface="Lato"/>
                          <a:cs typeface="Lato"/>
                        </a:rPr>
                        <a:t>Lorem ipsum dolor sit amet, consetetur sadipscing elitr</a:t>
                      </a:r>
                      <a:endParaRPr lang="en-GB" sz="1050">
                        <a:solidFill>
                          <a:schemeClr val="tx1"/>
                        </a:solidFill>
                        <a:latin typeface="Open Sauce One" pitchFamily="2" charset="0"/>
                        <a:ea typeface="Lato"/>
                        <a:cs typeface="Lat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a:solidFill>
                          <a:schemeClr val="tx1"/>
                        </a:solidFill>
                        <a:latin typeface="Open Sauce One" pitchFamily="2" charset="0"/>
                        <a:ea typeface="Lato"/>
                        <a:cs typeface="Lat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a:solidFill>
                            <a:schemeClr val="tx1"/>
                          </a:solidFill>
                          <a:latin typeface="Open Sauce One"/>
                          <a:ea typeface="Lato"/>
                          <a:cs typeface="Lato"/>
                        </a:rPr>
                        <a:t>Lorem ips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a:solidFill>
                          <a:schemeClr val="tx1"/>
                        </a:solidFill>
                        <a:latin typeface="Open Sauce One" pitchFamily="2" charset="0"/>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3096845"/>
                  </a:ext>
                </a:extLst>
              </a:tr>
              <a:tr h="499135">
                <a:tc>
                  <a:txBody>
                    <a:bodyPr/>
                    <a:lstStyle/>
                    <a:p>
                      <a:pPr algn="ctr" rtl="0"/>
                      <a:r>
                        <a:rPr lang="en-GB" sz="1050" b="1">
                          <a:solidFill>
                            <a:schemeClr val="tx1"/>
                          </a:solidFill>
                          <a:latin typeface="Open Sauce One"/>
                          <a:ea typeface="Lato"/>
                          <a:cs typeface="Lato"/>
                        </a:rPr>
                        <a:t>Lorem ipsum</a:t>
                      </a:r>
                    </a:p>
                  </a:txBody>
                  <a:tcPr anchor="ctr">
                    <a:lnL w="3175" cap="flat" cmpd="sng" algn="ctr">
                      <a:no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4">
                  <a:txBody>
                    <a:bodyPr/>
                    <a:lstStyle/>
                    <a:p>
                      <a:pPr marL="0" indent="0" algn="l" rtl="0">
                        <a:buFont typeface="Arial" panose="020B0604020202020204" pitchFamily="34" charset="0"/>
                        <a:buNone/>
                      </a:pPr>
                      <a:r>
                        <a:rPr lang="en-GB" sz="1050">
                          <a:solidFill>
                            <a:schemeClr val="tx1"/>
                          </a:solidFill>
                          <a:latin typeface="Open Sauce One"/>
                        </a:rPr>
                        <a:t>Lorem Ipsum</a:t>
                      </a:r>
                    </a:p>
                  </a:txBody>
                  <a:tcPr marL="108000" marR="108000" marT="108000" marB="10800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rtl="0">
                        <a:buFont typeface="Arial" panose="020B0604020202020204" pitchFamily="34" charset="0"/>
                        <a:buNone/>
                      </a:pPr>
                      <a:r>
                        <a:rPr lang="en-GB" sz="1200">
                          <a:solidFill>
                            <a:schemeClr val="accent1"/>
                          </a:solidFill>
                          <a:highlight>
                            <a:srgbClr val="FFFF00"/>
                          </a:highlight>
                          <a:latin typeface="Lato"/>
                          <a:ea typeface="Lato"/>
                          <a:cs typeface="Lato"/>
                        </a:rPr>
                        <a:t>8 weeks after </a:t>
                      </a:r>
                      <a:r>
                        <a:rPr lang="en-GB" sz="1200" err="1">
                          <a:solidFill>
                            <a:schemeClr val="accent1"/>
                          </a:solidFill>
                          <a:highlight>
                            <a:srgbClr val="FFFF00"/>
                          </a:highlight>
                          <a:latin typeface="Lato"/>
                          <a:ea typeface="Lato"/>
                          <a:cs typeface="Lato"/>
                        </a:rPr>
                        <a:t>Hypatos</a:t>
                      </a:r>
                      <a:r>
                        <a:rPr lang="en-GB" sz="1200">
                          <a:solidFill>
                            <a:schemeClr val="accent1"/>
                          </a:solidFill>
                          <a:highlight>
                            <a:srgbClr val="FFFF00"/>
                          </a:highlight>
                          <a:latin typeface="Lato"/>
                          <a:ea typeface="Lato"/>
                          <a:cs typeface="Lato"/>
                        </a:rPr>
                        <a:t> has received and confirmed the requested KTM data</a:t>
                      </a:r>
                    </a:p>
                  </a:txBody>
                  <a:tcPr anchor="ctr">
                    <a:solidFill>
                      <a:srgbClr val="FFCCDC">
                        <a:alpha val="25098"/>
                      </a:srgbClr>
                    </a:solidFill>
                  </a:tcPr>
                </a:tc>
                <a:tc hMerge="1">
                  <a:txBody>
                    <a:bodyPr/>
                    <a:lstStyle/>
                    <a:p>
                      <a:pPr marL="0" indent="0">
                        <a:buFont typeface="Arial" panose="020B0604020202020204" pitchFamily="34" charset="0"/>
                        <a:buNone/>
                      </a:pPr>
                      <a:r>
                        <a:rPr lang="en-US" sz="1200">
                          <a:latin typeface="Lato" panose="020F0502020204030203" pitchFamily="34" charset="0"/>
                          <a:ea typeface="Lato" panose="020F0502020204030203" pitchFamily="34" charset="0"/>
                          <a:cs typeface="Lato" panose="020F0502020204030203" pitchFamily="34" charset="0"/>
                        </a:rPr>
                        <a:t>8 weeks after Hypatos has received and confirmed the requested KP data</a:t>
                      </a:r>
                    </a:p>
                    <a:p>
                      <a:endParaRPr lang="en-GB" sz="1200">
                        <a:latin typeface="Lato" panose="020F0502020204030203" pitchFamily="34" charset="0"/>
                        <a:ea typeface="Lato" panose="020F0502020204030203" pitchFamily="34" charset="0"/>
                        <a:cs typeface="Lato" panose="020F0502020204030203" pitchFamily="34" charset="0"/>
                      </a:endParaRPr>
                    </a:p>
                  </a:txBody>
                  <a:tcPr/>
                </a:tc>
                <a:tc hMerge="1">
                  <a:txBody>
                    <a:bodyPr/>
                    <a:lstStyle/>
                    <a:p>
                      <a:pPr marL="0" indent="0">
                        <a:buFont typeface="Arial" panose="020B0604020202020204" pitchFamily="34" charset="0"/>
                        <a:buNone/>
                      </a:pPr>
                      <a:r>
                        <a:rPr lang="en-US" sz="1200">
                          <a:latin typeface="Lato" panose="020F0502020204030203" pitchFamily="34" charset="0"/>
                          <a:ea typeface="Lato" panose="020F0502020204030203" pitchFamily="34" charset="0"/>
                          <a:cs typeface="Lato" panose="020F0502020204030203" pitchFamily="34" charset="0"/>
                        </a:rPr>
                        <a:t>8 weeks after Hypatos has received and confirmed the requested KP data</a:t>
                      </a:r>
                    </a:p>
                    <a:p>
                      <a:endParaRPr lang="en-GB" sz="1200">
                        <a:latin typeface="Lato" panose="020F0502020204030203" pitchFamily="34" charset="0"/>
                        <a:ea typeface="Lato" panose="020F0502020204030203" pitchFamily="34" charset="0"/>
                        <a:cs typeface="Lato" panose="020F0502020204030203" pitchFamily="34" charset="0"/>
                      </a:endParaRPr>
                    </a:p>
                  </a:txBody>
                  <a:tcPr/>
                </a:tc>
                <a:tc>
                  <a:txBody>
                    <a:bodyPr/>
                    <a:lstStyle/>
                    <a:p>
                      <a:pPr algn="l" rtl="0">
                        <a:spcBef>
                          <a:spcPts val="1200"/>
                        </a:spcBef>
                      </a:pPr>
                      <a:r>
                        <a:rPr lang="en-GB" sz="1050">
                          <a:solidFill>
                            <a:schemeClr val="tx1"/>
                          </a:solidFill>
                          <a:latin typeface="Open Sauce One"/>
                          <a:ea typeface="Lato"/>
                          <a:cs typeface="Lato"/>
                        </a:rPr>
                        <a:t>Lorem Ipsum</a:t>
                      </a:r>
                    </a:p>
                  </a:txBody>
                  <a:tcPr marL="108000" marR="108000" marT="108000" marB="108000"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649574"/>
                  </a:ext>
                </a:extLst>
              </a:tr>
            </a:tbl>
          </a:graphicData>
        </a:graphic>
      </p:graphicFrame>
    </p:spTree>
    <p:extLst>
      <p:ext uri="{BB962C8B-B14F-4D97-AF65-F5344CB8AC3E}">
        <p14:creationId xmlns:p14="http://schemas.microsoft.com/office/powerpoint/2010/main" val="32371325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6887DF8-12DF-A335-F6EB-5EEA3940B7AA}"/>
              </a:ext>
            </a:extLst>
          </p:cNvPr>
          <p:cNvGraphicFramePr>
            <a:graphicFrameLocks noChangeAspect="1"/>
          </p:cNvGraphicFramePr>
          <p:nvPr>
            <p:custDataLst>
              <p:tags r:id="rId1"/>
            </p:custDataLst>
            <p:extLst>
              <p:ext uri="{D42A27DB-BD31-4B8C-83A1-F6EECF244321}">
                <p14:modId xmlns:p14="http://schemas.microsoft.com/office/powerpoint/2010/main" val="37335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E6887DF8-12DF-A335-F6EB-5EEA3940B7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Table style 1</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42</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esources</a:t>
            </a:r>
          </a:p>
        </p:txBody>
      </p:sp>
      <p:graphicFrame>
        <p:nvGraphicFramePr>
          <p:cNvPr id="6" name="Table 6">
            <a:extLst>
              <a:ext uri="{FF2B5EF4-FFF2-40B4-BE49-F238E27FC236}">
                <a16:creationId xmlns:a16="http://schemas.microsoft.com/office/drawing/2014/main" id="{A447D38A-BC4A-6237-DA3C-1B8FAE09896D}"/>
              </a:ext>
            </a:extLst>
          </p:cNvPr>
          <p:cNvGraphicFramePr>
            <a:graphicFrameLocks noGrp="1"/>
          </p:cNvGraphicFramePr>
          <p:nvPr>
            <p:extLst>
              <p:ext uri="{D42A27DB-BD31-4B8C-83A1-F6EECF244321}">
                <p14:modId xmlns:p14="http://schemas.microsoft.com/office/powerpoint/2010/main" val="2512044155"/>
              </p:ext>
            </p:extLst>
          </p:nvPr>
        </p:nvGraphicFramePr>
        <p:xfrm>
          <a:off x="407987" y="1832737"/>
          <a:ext cx="11341098" cy="3588645"/>
        </p:xfrm>
        <a:graphic>
          <a:graphicData uri="http://schemas.openxmlformats.org/drawingml/2006/table">
            <a:tbl>
              <a:tblPr firstRow="1" bandRow="1">
                <a:tableStyleId>{5C22544A-7EE6-4342-B048-85BDC9FD1C3A}</a:tableStyleId>
              </a:tblPr>
              <a:tblGrid>
                <a:gridCol w="859981">
                  <a:extLst>
                    <a:ext uri="{9D8B030D-6E8A-4147-A177-3AD203B41FA5}">
                      <a16:colId xmlns:a16="http://schemas.microsoft.com/office/drawing/2014/main" val="1668372078"/>
                    </a:ext>
                  </a:extLst>
                </a:gridCol>
                <a:gridCol w="2007921">
                  <a:extLst>
                    <a:ext uri="{9D8B030D-6E8A-4147-A177-3AD203B41FA5}">
                      <a16:colId xmlns:a16="http://schemas.microsoft.com/office/drawing/2014/main" val="3392869195"/>
                    </a:ext>
                  </a:extLst>
                </a:gridCol>
                <a:gridCol w="2118299">
                  <a:extLst>
                    <a:ext uri="{9D8B030D-6E8A-4147-A177-3AD203B41FA5}">
                      <a16:colId xmlns:a16="http://schemas.microsoft.com/office/drawing/2014/main" val="3247310338"/>
                    </a:ext>
                  </a:extLst>
                </a:gridCol>
                <a:gridCol w="2118299">
                  <a:extLst>
                    <a:ext uri="{9D8B030D-6E8A-4147-A177-3AD203B41FA5}">
                      <a16:colId xmlns:a16="http://schemas.microsoft.com/office/drawing/2014/main" val="2961316966"/>
                    </a:ext>
                  </a:extLst>
                </a:gridCol>
                <a:gridCol w="2118299">
                  <a:extLst>
                    <a:ext uri="{9D8B030D-6E8A-4147-A177-3AD203B41FA5}">
                      <a16:colId xmlns:a16="http://schemas.microsoft.com/office/drawing/2014/main" val="2238210792"/>
                    </a:ext>
                  </a:extLst>
                </a:gridCol>
                <a:gridCol w="2118299">
                  <a:extLst>
                    <a:ext uri="{9D8B030D-6E8A-4147-A177-3AD203B41FA5}">
                      <a16:colId xmlns:a16="http://schemas.microsoft.com/office/drawing/2014/main" val="3112965645"/>
                    </a:ext>
                  </a:extLst>
                </a:gridCol>
              </a:tblGrid>
              <a:tr h="565686">
                <a:tc>
                  <a:txBody>
                    <a:bodyPr/>
                    <a:lstStyle/>
                    <a:p>
                      <a:pPr rtl="0"/>
                      <a:endParaRPr lang="en-GB" sz="1100">
                        <a:solidFill>
                          <a:schemeClr val="tx2"/>
                        </a:solidFill>
                        <a:latin typeface="Lato" panose="020F0502020204030203" pitchFamily="34" charset="0"/>
                        <a:ea typeface="Lato" panose="020F0502020204030203" pitchFamily="34" charset="0"/>
                        <a:cs typeface="Lato" panose="020F0502020204030203" pitchFamily="34" charset="0"/>
                      </a:endParaRPr>
                    </a:p>
                  </a:txBody>
                  <a:tcPr anchor="ctr">
                    <a:lnL w="12700" cmpd="sng">
                      <a:noFill/>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a:r>
                        <a:rPr lang="en-GB" sz="1100">
                          <a:solidFill>
                            <a:schemeClr val="tx2"/>
                          </a:solidFill>
                          <a:latin typeface="Lato"/>
                          <a:ea typeface="Lato"/>
                          <a:cs typeface="Lato"/>
                        </a:rPr>
                        <a:t>Lorem ipsum</a:t>
                      </a:r>
                    </a:p>
                  </a:txBody>
                  <a:tcPr anchor="ctr">
                    <a:lnL w="3175" cap="flat" cmpd="sng" algn="ctr">
                      <a:solidFill>
                        <a:schemeClr val="accent5"/>
                      </a:solidFill>
                      <a:prstDash val="solid"/>
                      <a:round/>
                      <a:headEnd type="none" w="med" len="med"/>
                      <a:tailEnd type="none" w="med" len="med"/>
                    </a:lnL>
                    <a:lnR w="12700" cmpd="sng">
                      <a:noFill/>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817506681"/>
                  </a:ext>
                </a:extLst>
              </a:tr>
              <a:tr h="1026421">
                <a:tc>
                  <a:txBody>
                    <a:bodyPr/>
                    <a:lstStyle/>
                    <a:p>
                      <a:pPr algn="ctr" rtl="0"/>
                      <a:r>
                        <a:rPr lang="en-GB" sz="1050" b="1">
                          <a:solidFill>
                            <a:schemeClr val="tx1"/>
                          </a:solidFill>
                          <a:latin typeface="Open Sauce One"/>
                          <a:ea typeface="Lato"/>
                          <a:cs typeface="Lato"/>
                        </a:rPr>
                        <a:t>Lorem ipsum</a:t>
                      </a:r>
                    </a:p>
                    <a:p>
                      <a:pPr algn="ctr" rtl="0"/>
                      <a:endParaRPr lang="en-GB" sz="1050" b="1">
                        <a:solidFill>
                          <a:schemeClr val="tx1"/>
                        </a:solidFill>
                        <a:latin typeface="Open Sauce One" pitchFamily="2" charset="0"/>
                        <a:ea typeface="Lato"/>
                        <a:cs typeface="Lato"/>
                      </a:endParaRPr>
                    </a:p>
                  </a:txBody>
                  <a:tcPr anchor="ctr">
                    <a:lnL w="3175" cap="flat" cmpd="sng" algn="ctr">
                      <a:no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rtl="0"/>
                      <a:r>
                        <a:rPr lang="en-GB" sz="1050">
                          <a:solidFill>
                            <a:schemeClr val="tx1"/>
                          </a:solidFill>
                          <a:latin typeface="Open Sauce One"/>
                          <a:ea typeface="Lato"/>
                          <a:cs typeface="Lato"/>
                        </a:rPr>
                        <a:t>Lorem ipsum dolor sit amet, consetetur sadipscing elitr</a:t>
                      </a:r>
                      <a:endParaRPr lang="en-GB" sz="1050" b="1">
                        <a:solidFill>
                          <a:schemeClr val="tx1"/>
                        </a:solidFill>
                        <a:latin typeface="Open Sauce One"/>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050">
                          <a:solidFill>
                            <a:schemeClr val="tx1"/>
                          </a:solidFill>
                          <a:latin typeface="Open Sauce One"/>
                          <a:ea typeface="Lato"/>
                          <a:cs typeface="Lato"/>
                        </a:rPr>
                        <a:t>Lorem ipsum dolor sit amet, consetetur sadipscing elitr</a:t>
                      </a: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050">
                          <a:solidFill>
                            <a:schemeClr val="tx1"/>
                          </a:solidFill>
                          <a:latin typeface="Open Sauce One"/>
                          <a:ea typeface="Lato"/>
                          <a:cs typeface="Lato"/>
                        </a:rPr>
                        <a:t>Lorem ipsum dolor sit amet, consetetur sadipscing elitr</a:t>
                      </a: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050">
                          <a:solidFill>
                            <a:schemeClr val="tx1"/>
                          </a:solidFill>
                          <a:latin typeface="Open Sauce One"/>
                          <a:ea typeface="Lato"/>
                          <a:cs typeface="Lato"/>
                        </a:rPr>
                        <a:t>Lorem ipsum dolor sit amet, consetetur sadipscing elitr</a:t>
                      </a: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050">
                          <a:solidFill>
                            <a:schemeClr val="tx1"/>
                          </a:solidFill>
                          <a:latin typeface="Open Sauce One"/>
                          <a:ea typeface="Lato"/>
                          <a:cs typeface="Lato"/>
                        </a:rPr>
                        <a:t>Lorem ipsum dolor sit amet, consetetur sadipscing elitr</a:t>
                      </a:r>
                      <a:endParaRPr lang="en-GB" sz="1050" b="0">
                        <a:solidFill>
                          <a:schemeClr val="tx1"/>
                        </a:solidFill>
                        <a:latin typeface="Open Sauce One"/>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2592930"/>
                  </a:ext>
                </a:extLst>
              </a:tr>
              <a:tr h="1497403">
                <a:tc>
                  <a:txBody>
                    <a:bodyPr/>
                    <a:lstStyle/>
                    <a:p>
                      <a:pPr algn="ctr" rtl="0"/>
                      <a:r>
                        <a:rPr lang="en-GB" sz="1050" b="1">
                          <a:solidFill>
                            <a:schemeClr val="tx1"/>
                          </a:solidFill>
                          <a:latin typeface="Open Sauce One"/>
                          <a:ea typeface="Lato"/>
                          <a:cs typeface="Lato"/>
                        </a:rPr>
                        <a:t>Lorem ipsum</a:t>
                      </a:r>
                    </a:p>
                    <a:p>
                      <a:pPr algn="ctr" rtl="0"/>
                      <a:endParaRPr lang="en-GB" sz="1050" b="1">
                        <a:solidFill>
                          <a:schemeClr val="tx1"/>
                        </a:solidFill>
                        <a:latin typeface="Open Sauce One" pitchFamily="2" charset="0"/>
                        <a:ea typeface="Lato"/>
                        <a:cs typeface="Lato"/>
                      </a:endParaRPr>
                    </a:p>
                    <a:p>
                      <a:pPr algn="ctr" rtl="0"/>
                      <a:endParaRPr lang="en-GB" sz="1050" b="1">
                        <a:solidFill>
                          <a:schemeClr val="tx1"/>
                        </a:solidFill>
                        <a:latin typeface="Open Sauce One" pitchFamily="2" charset="0"/>
                        <a:ea typeface="Lato"/>
                        <a:cs typeface="Lato"/>
                      </a:endParaRPr>
                    </a:p>
                  </a:txBody>
                  <a:tcPr anchor="ctr">
                    <a:lnL w="3175" cap="flat" cmpd="sng" algn="ctr">
                      <a:no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285750" indent="-285750" algn="l" rtl="0">
                        <a:buFont typeface="Arial" panose="020B0604020202020204" pitchFamily="34" charset="0"/>
                        <a:buChar char="•"/>
                      </a:pPr>
                      <a:endParaRPr lang="en-GB" sz="1050">
                        <a:solidFill>
                          <a:schemeClr val="tx1"/>
                        </a:solidFill>
                        <a:highlight>
                          <a:srgbClr val="FFFF00"/>
                        </a:highlight>
                        <a:latin typeface="Open Sauce One" pitchFamily="2" charset="0"/>
                        <a:ea typeface="Lato"/>
                        <a:cs typeface="Lato"/>
                      </a:endParaRPr>
                    </a:p>
                    <a:p>
                      <a:pPr marL="139700" marR="0" lvl="0" indent="-1397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a:solidFill>
                            <a:schemeClr val="tx1"/>
                          </a:solidFill>
                          <a:latin typeface="Open Sauce One"/>
                          <a:ea typeface="Lato"/>
                          <a:cs typeface="Lato"/>
                        </a:rPr>
                        <a:t>Lorem ipsum dolor sit amet, consetetur sadipscing elitr</a:t>
                      </a:r>
                    </a:p>
                    <a:p>
                      <a:pPr marL="139700" marR="0" lvl="0" indent="-1397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a:solidFill>
                          <a:schemeClr val="tx1"/>
                        </a:solidFill>
                        <a:latin typeface="Open Sauce One" pitchFamily="2" charset="0"/>
                        <a:ea typeface="Lato"/>
                        <a:cs typeface="Lato"/>
                      </a:endParaRPr>
                    </a:p>
                    <a:p>
                      <a:pPr marL="139700" marR="0" lvl="0" indent="-1397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a:solidFill>
                            <a:schemeClr val="tx1"/>
                          </a:solidFill>
                          <a:latin typeface="Open Sauce One"/>
                          <a:ea typeface="Lato"/>
                          <a:cs typeface="Lato"/>
                        </a:rPr>
                        <a:t>Lorem ipsum</a:t>
                      </a: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9700" indent="-139700" algn="l" rtl="0">
                        <a:buFont typeface="Arial" panose="020B0604020202020204" pitchFamily="34" charset="0"/>
                        <a:buChar char="•"/>
                        <a:tabLst/>
                      </a:pPr>
                      <a:r>
                        <a:rPr lang="en-GB" sz="1050">
                          <a:solidFill>
                            <a:schemeClr val="tx1"/>
                          </a:solidFill>
                          <a:latin typeface="Open Sauce One"/>
                          <a:ea typeface="Lato"/>
                          <a:cs typeface="Lato"/>
                        </a:rPr>
                        <a:t>Lorem ipsum dolor sit amet, consetetur sadipscing elitr</a:t>
                      </a:r>
                      <a:endParaRPr lang="en-GB" sz="1050">
                        <a:solidFill>
                          <a:schemeClr val="tx1"/>
                        </a:solidFill>
                        <a:latin typeface="Open Sauce One" pitchFamily="2" charset="0"/>
                        <a:ea typeface="Lato"/>
                        <a:cs typeface="Lato"/>
                      </a:endParaRPr>
                    </a:p>
                    <a:p>
                      <a:pPr marL="139700" indent="-139700" algn="l" rtl="0">
                        <a:buFont typeface="Arial" panose="020B0604020202020204" pitchFamily="34" charset="0"/>
                        <a:buChar char="•"/>
                        <a:tabLst/>
                      </a:pPr>
                      <a:endParaRPr lang="en-GB" sz="1050">
                        <a:solidFill>
                          <a:schemeClr val="tx1"/>
                        </a:solidFill>
                        <a:latin typeface="Open Sauce One" pitchFamily="2" charset="0"/>
                        <a:ea typeface="Lato"/>
                        <a:cs typeface="Lato"/>
                      </a:endParaRPr>
                    </a:p>
                    <a:p>
                      <a:pPr marL="139700" indent="-139700" algn="l" rtl="0">
                        <a:buFont typeface="Arial" panose="020B0604020202020204" pitchFamily="34" charset="0"/>
                        <a:buChar char="•"/>
                        <a:tabLst/>
                      </a:pPr>
                      <a:r>
                        <a:rPr lang="en-GB" sz="1050">
                          <a:solidFill>
                            <a:schemeClr val="tx1"/>
                          </a:solidFill>
                          <a:latin typeface="Open Sauce One"/>
                          <a:ea typeface="Lato"/>
                          <a:cs typeface="Lato"/>
                        </a:rPr>
                        <a:t>Lorem ipsum</a:t>
                      </a:r>
                    </a:p>
                    <a:p>
                      <a:pPr marL="139700" indent="-139700" algn="l" rtl="0">
                        <a:buFont typeface="Arial" panose="020B0604020202020204" pitchFamily="34" charset="0"/>
                        <a:buChar char="•"/>
                        <a:tabLst/>
                      </a:pPr>
                      <a:endParaRPr lang="en-GB" sz="1050">
                        <a:solidFill>
                          <a:schemeClr val="tx1"/>
                        </a:solidFill>
                        <a:latin typeface="Open Sauce One" pitchFamily="2" charset="0"/>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a:buFont typeface="Arial" panose="020B0604020202020204" pitchFamily="34" charset="0"/>
                        <a:buChar char="•"/>
                      </a:pPr>
                      <a:r>
                        <a:rPr lang="en-GB" sz="1050">
                          <a:solidFill>
                            <a:schemeClr val="tx1"/>
                          </a:solidFill>
                          <a:latin typeface="Open Sauce One"/>
                          <a:ea typeface="Lato"/>
                          <a:cs typeface="Lato"/>
                        </a:rPr>
                        <a:t>Lorem ipsum dolor sit amet, consetetur sadipscing elitr</a:t>
                      </a:r>
                      <a:endParaRPr lang="en-GB" sz="1050">
                        <a:solidFill>
                          <a:schemeClr val="tx1"/>
                        </a:solidFill>
                        <a:latin typeface="Open Sauce One" pitchFamily="2" charset="0"/>
                        <a:ea typeface="Lato"/>
                        <a:cs typeface="Lato"/>
                      </a:endParaRPr>
                    </a:p>
                    <a:p>
                      <a:pPr marL="171450" indent="-171450" algn="l" rtl="0">
                        <a:buFont typeface="Arial" panose="020B0604020202020204" pitchFamily="34" charset="0"/>
                        <a:buChar char="•"/>
                      </a:pPr>
                      <a:endParaRPr lang="en-GB" sz="1050">
                        <a:solidFill>
                          <a:schemeClr val="tx1"/>
                        </a:solidFill>
                        <a:latin typeface="Open Sauce One" pitchFamily="2" charset="0"/>
                        <a:ea typeface="Lato"/>
                        <a:cs typeface="Lato"/>
                      </a:endParaRPr>
                    </a:p>
                    <a:p>
                      <a:pPr marL="171450" indent="-171450" algn="l" rtl="0">
                        <a:buFont typeface="Arial" panose="020B0604020202020204" pitchFamily="34" charset="0"/>
                        <a:buChar char="•"/>
                      </a:pPr>
                      <a:r>
                        <a:rPr lang="en-GB" sz="1050">
                          <a:solidFill>
                            <a:schemeClr val="tx1"/>
                          </a:solidFill>
                          <a:latin typeface="Open Sauce One"/>
                          <a:ea typeface="Lato"/>
                          <a:cs typeface="Lato"/>
                        </a:rPr>
                        <a:t>Lorem ipsum</a:t>
                      </a:r>
                    </a:p>
                    <a:p>
                      <a:pPr marL="171450" indent="-171450" algn="l" rtl="0">
                        <a:buFont typeface="Arial" panose="020B0604020202020204" pitchFamily="34" charset="0"/>
                        <a:buChar char="•"/>
                      </a:pPr>
                      <a:endParaRPr lang="en-GB" sz="1050">
                        <a:solidFill>
                          <a:schemeClr val="tx1"/>
                        </a:solidFill>
                        <a:latin typeface="Open Sauce One" pitchFamily="2" charset="0"/>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a:buFont typeface="Arial" panose="020B0604020202020204" pitchFamily="34" charset="0"/>
                        <a:buChar char="•"/>
                      </a:pPr>
                      <a:r>
                        <a:rPr lang="en-GB" sz="1050">
                          <a:solidFill>
                            <a:schemeClr val="tx1"/>
                          </a:solidFill>
                          <a:latin typeface="Open Sauce One"/>
                          <a:ea typeface="Lato"/>
                          <a:cs typeface="Lato"/>
                        </a:rPr>
                        <a:t>Lorem ipsum dolor sit amet, consetetur sadipscing elitr</a:t>
                      </a:r>
                      <a:endParaRPr lang="en-GB" sz="1050">
                        <a:solidFill>
                          <a:schemeClr val="tx1"/>
                        </a:solidFill>
                        <a:latin typeface="Open Sauce One" pitchFamily="2" charset="0"/>
                        <a:ea typeface="Lato"/>
                        <a:cs typeface="Lato"/>
                      </a:endParaRPr>
                    </a:p>
                    <a:p>
                      <a:pPr marL="171450" indent="-171450" algn="l" rtl="0">
                        <a:buFont typeface="Arial" panose="020B0604020202020204" pitchFamily="34" charset="0"/>
                        <a:buChar char="•"/>
                      </a:pPr>
                      <a:endParaRPr lang="en-GB" sz="1050">
                        <a:solidFill>
                          <a:schemeClr val="tx1"/>
                        </a:solidFill>
                        <a:latin typeface="Open Sauce One" pitchFamily="2" charset="0"/>
                        <a:ea typeface="Lato"/>
                        <a:cs typeface="Lato"/>
                      </a:endParaRPr>
                    </a:p>
                    <a:p>
                      <a:pPr marL="171450" indent="-171450" algn="l" rtl="0">
                        <a:buFont typeface="Arial" panose="020B0604020202020204" pitchFamily="34" charset="0"/>
                        <a:buChar char="•"/>
                      </a:pPr>
                      <a:r>
                        <a:rPr lang="en-GB" sz="1050">
                          <a:solidFill>
                            <a:schemeClr val="tx1"/>
                          </a:solidFill>
                          <a:latin typeface="Open Sauce One"/>
                          <a:ea typeface="Lato"/>
                          <a:cs typeface="Lato"/>
                        </a:rPr>
                        <a:t>Lorem ipsum</a:t>
                      </a:r>
                    </a:p>
                    <a:p>
                      <a:pPr marL="171450" indent="-171450" algn="l" rtl="0">
                        <a:buFont typeface="Arial" panose="020B0604020202020204" pitchFamily="34" charset="0"/>
                        <a:buChar char="•"/>
                      </a:pPr>
                      <a:endParaRPr lang="en-GB" sz="1050">
                        <a:solidFill>
                          <a:schemeClr val="tx1"/>
                        </a:solidFill>
                        <a:latin typeface="Open Sauce One" pitchFamily="2" charset="0"/>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a:solidFill>
                            <a:schemeClr val="tx1"/>
                          </a:solidFill>
                          <a:latin typeface="Open Sauce One"/>
                          <a:ea typeface="Lato"/>
                          <a:cs typeface="Lato"/>
                        </a:rPr>
                        <a:t>Lorem ipsum dolor sit amet, consetetur sadipscing elitr</a:t>
                      </a:r>
                      <a:endParaRPr lang="en-GB" sz="1050">
                        <a:solidFill>
                          <a:schemeClr val="tx1"/>
                        </a:solidFill>
                        <a:latin typeface="Open Sauce One" pitchFamily="2" charset="0"/>
                        <a:ea typeface="Lato"/>
                        <a:cs typeface="Lat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a:solidFill>
                          <a:schemeClr val="tx1"/>
                        </a:solidFill>
                        <a:latin typeface="Open Sauce One" pitchFamily="2" charset="0"/>
                        <a:ea typeface="Lato"/>
                        <a:cs typeface="Lat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a:solidFill>
                            <a:schemeClr val="tx1"/>
                          </a:solidFill>
                          <a:latin typeface="Open Sauce One"/>
                          <a:ea typeface="Lato"/>
                          <a:cs typeface="Lato"/>
                        </a:rPr>
                        <a:t>Lorem ips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a:solidFill>
                          <a:schemeClr val="tx1"/>
                        </a:solidFill>
                        <a:latin typeface="Open Sauce One" pitchFamily="2" charset="0"/>
                        <a:ea typeface="Lato"/>
                        <a:cs typeface="Lato"/>
                      </a:endParaRPr>
                    </a:p>
                  </a:txBody>
                  <a:tcPr marL="108000" marR="108000" marT="108000" marB="108000">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3096845"/>
                  </a:ext>
                </a:extLst>
              </a:tr>
              <a:tr h="499135">
                <a:tc>
                  <a:txBody>
                    <a:bodyPr/>
                    <a:lstStyle/>
                    <a:p>
                      <a:pPr algn="ctr" rtl="0"/>
                      <a:r>
                        <a:rPr lang="en-GB" sz="1050" b="1">
                          <a:solidFill>
                            <a:schemeClr val="tx1"/>
                          </a:solidFill>
                          <a:latin typeface="Open Sauce One"/>
                          <a:ea typeface="Lato"/>
                          <a:cs typeface="Lato"/>
                        </a:rPr>
                        <a:t>Lorem ipsum</a:t>
                      </a:r>
                    </a:p>
                  </a:txBody>
                  <a:tcPr anchor="ctr">
                    <a:lnL w="3175" cap="flat" cmpd="sng" algn="ctr">
                      <a:no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4">
                  <a:txBody>
                    <a:bodyPr/>
                    <a:lstStyle/>
                    <a:p>
                      <a:pPr marL="0" indent="0" algn="l" rtl="0">
                        <a:buFont typeface="Arial" panose="020B0604020202020204" pitchFamily="34" charset="0"/>
                        <a:buNone/>
                      </a:pPr>
                      <a:r>
                        <a:rPr lang="en-GB" sz="1050">
                          <a:solidFill>
                            <a:schemeClr val="tx1"/>
                          </a:solidFill>
                          <a:latin typeface="Open Sauce One"/>
                        </a:rPr>
                        <a:t>Lorem Ipsum</a:t>
                      </a:r>
                    </a:p>
                  </a:txBody>
                  <a:tcPr marL="108000" marR="108000" marT="108000" marB="10800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rtl="0">
                        <a:buFont typeface="Arial" panose="020B0604020202020204" pitchFamily="34" charset="0"/>
                        <a:buNone/>
                      </a:pPr>
                      <a:r>
                        <a:rPr lang="en-GB" sz="1200">
                          <a:solidFill>
                            <a:schemeClr val="accent1"/>
                          </a:solidFill>
                          <a:highlight>
                            <a:srgbClr val="FFFF00"/>
                          </a:highlight>
                          <a:latin typeface="Lato"/>
                          <a:ea typeface="Lato"/>
                          <a:cs typeface="Lato"/>
                        </a:rPr>
                        <a:t>8 weeks after </a:t>
                      </a:r>
                      <a:r>
                        <a:rPr lang="en-GB" sz="1200" err="1">
                          <a:solidFill>
                            <a:schemeClr val="accent1"/>
                          </a:solidFill>
                          <a:highlight>
                            <a:srgbClr val="FFFF00"/>
                          </a:highlight>
                          <a:latin typeface="Lato"/>
                          <a:ea typeface="Lato"/>
                          <a:cs typeface="Lato"/>
                        </a:rPr>
                        <a:t>Hypatos</a:t>
                      </a:r>
                      <a:r>
                        <a:rPr lang="en-GB" sz="1200">
                          <a:solidFill>
                            <a:schemeClr val="accent1"/>
                          </a:solidFill>
                          <a:highlight>
                            <a:srgbClr val="FFFF00"/>
                          </a:highlight>
                          <a:latin typeface="Lato"/>
                          <a:ea typeface="Lato"/>
                          <a:cs typeface="Lato"/>
                        </a:rPr>
                        <a:t> has received and confirmed the requested KTM data</a:t>
                      </a:r>
                    </a:p>
                  </a:txBody>
                  <a:tcPr anchor="ctr">
                    <a:solidFill>
                      <a:srgbClr val="FFCCDC">
                        <a:alpha val="25098"/>
                      </a:srgbClr>
                    </a:solidFill>
                  </a:tcPr>
                </a:tc>
                <a:tc hMerge="1">
                  <a:txBody>
                    <a:bodyPr/>
                    <a:lstStyle/>
                    <a:p>
                      <a:pPr marL="0" indent="0">
                        <a:buFont typeface="Arial" panose="020B0604020202020204" pitchFamily="34" charset="0"/>
                        <a:buNone/>
                      </a:pPr>
                      <a:r>
                        <a:rPr lang="en-US" sz="1200">
                          <a:latin typeface="Lato" panose="020F0502020204030203" pitchFamily="34" charset="0"/>
                          <a:ea typeface="Lato" panose="020F0502020204030203" pitchFamily="34" charset="0"/>
                          <a:cs typeface="Lato" panose="020F0502020204030203" pitchFamily="34" charset="0"/>
                        </a:rPr>
                        <a:t>8 weeks after Hypatos has received and confirmed the requested KP data</a:t>
                      </a:r>
                    </a:p>
                    <a:p>
                      <a:endParaRPr lang="en-GB" sz="1200">
                        <a:latin typeface="Lato" panose="020F0502020204030203" pitchFamily="34" charset="0"/>
                        <a:ea typeface="Lato" panose="020F0502020204030203" pitchFamily="34" charset="0"/>
                        <a:cs typeface="Lato" panose="020F0502020204030203" pitchFamily="34" charset="0"/>
                      </a:endParaRPr>
                    </a:p>
                  </a:txBody>
                  <a:tcPr/>
                </a:tc>
                <a:tc hMerge="1">
                  <a:txBody>
                    <a:bodyPr/>
                    <a:lstStyle/>
                    <a:p>
                      <a:pPr marL="0" indent="0">
                        <a:buFont typeface="Arial" panose="020B0604020202020204" pitchFamily="34" charset="0"/>
                        <a:buNone/>
                      </a:pPr>
                      <a:r>
                        <a:rPr lang="en-US" sz="1200">
                          <a:latin typeface="Lato" panose="020F0502020204030203" pitchFamily="34" charset="0"/>
                          <a:ea typeface="Lato" panose="020F0502020204030203" pitchFamily="34" charset="0"/>
                          <a:cs typeface="Lato" panose="020F0502020204030203" pitchFamily="34" charset="0"/>
                        </a:rPr>
                        <a:t>8 weeks after Hypatos has received and confirmed the requested KP data</a:t>
                      </a:r>
                    </a:p>
                    <a:p>
                      <a:endParaRPr lang="en-GB" sz="1200">
                        <a:latin typeface="Lato" panose="020F0502020204030203" pitchFamily="34" charset="0"/>
                        <a:ea typeface="Lato" panose="020F0502020204030203" pitchFamily="34" charset="0"/>
                        <a:cs typeface="Lato" panose="020F0502020204030203" pitchFamily="34" charset="0"/>
                      </a:endParaRPr>
                    </a:p>
                  </a:txBody>
                  <a:tcPr/>
                </a:tc>
                <a:tc>
                  <a:txBody>
                    <a:bodyPr/>
                    <a:lstStyle/>
                    <a:p>
                      <a:pPr algn="l" rtl="0">
                        <a:spcBef>
                          <a:spcPts val="1200"/>
                        </a:spcBef>
                      </a:pPr>
                      <a:r>
                        <a:rPr lang="en-GB" sz="1050">
                          <a:solidFill>
                            <a:schemeClr val="tx1"/>
                          </a:solidFill>
                          <a:latin typeface="Open Sauce One"/>
                          <a:ea typeface="Lato"/>
                          <a:cs typeface="Lato"/>
                        </a:rPr>
                        <a:t>Lorem Ipsum</a:t>
                      </a:r>
                    </a:p>
                  </a:txBody>
                  <a:tcPr marL="108000" marR="108000" marT="108000" marB="108000"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649574"/>
                  </a:ext>
                </a:extLst>
              </a:tr>
            </a:tbl>
          </a:graphicData>
        </a:graphic>
      </p:graphicFrame>
    </p:spTree>
    <p:extLst>
      <p:ext uri="{BB962C8B-B14F-4D97-AF65-F5344CB8AC3E}">
        <p14:creationId xmlns:p14="http://schemas.microsoft.com/office/powerpoint/2010/main" val="9190895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7BED3DD-585D-CBEB-898E-5F03F4114264}"/>
              </a:ext>
            </a:extLst>
          </p:cNvPr>
          <p:cNvGraphicFramePr>
            <a:graphicFrameLocks noChangeAspect="1"/>
          </p:cNvGraphicFramePr>
          <p:nvPr>
            <p:custDataLst>
              <p:tags r:id="rId1"/>
            </p:custDataLst>
            <p:extLst>
              <p:ext uri="{D42A27DB-BD31-4B8C-83A1-F6EECF244321}">
                <p14:modId xmlns:p14="http://schemas.microsoft.com/office/powerpoint/2010/main" val="795182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think-cell data - do not delete" hidden="1">
                        <a:extLst>
                          <a:ext uri="{FF2B5EF4-FFF2-40B4-BE49-F238E27FC236}">
                            <a16:creationId xmlns:a16="http://schemas.microsoft.com/office/drawing/2014/main" id="{87BED3DD-585D-CBEB-898E-5F03F4114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Table style 2</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43</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esources</a:t>
            </a:r>
          </a:p>
        </p:txBody>
      </p:sp>
      <p:sp>
        <p:nvSpPr>
          <p:cNvPr id="3" name="Lekerekített téglalap 2">
            <a:extLst>
              <a:ext uri="{FF2B5EF4-FFF2-40B4-BE49-F238E27FC236}">
                <a16:creationId xmlns:a16="http://schemas.microsoft.com/office/drawing/2014/main" id="{C23CB1E5-C18B-C2C8-E270-34D034D4F50A}"/>
              </a:ext>
            </a:extLst>
          </p:cNvPr>
          <p:cNvSpPr/>
          <p:nvPr/>
        </p:nvSpPr>
        <p:spPr>
          <a:xfrm>
            <a:off x="407986" y="1694312"/>
            <a:ext cx="11259673" cy="4287387"/>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uce One" pitchFamily="2" charset="0"/>
              <a:ea typeface="+mn-ea"/>
              <a:cs typeface="+mn-cs"/>
            </a:endParaRPr>
          </a:p>
        </p:txBody>
      </p:sp>
      <p:graphicFrame>
        <p:nvGraphicFramePr>
          <p:cNvPr id="7" name="Table 20">
            <a:extLst>
              <a:ext uri="{FF2B5EF4-FFF2-40B4-BE49-F238E27FC236}">
                <a16:creationId xmlns:a16="http://schemas.microsoft.com/office/drawing/2014/main" id="{1F13A2E4-818E-9DCE-8C94-2435952FC187}"/>
              </a:ext>
            </a:extLst>
          </p:cNvPr>
          <p:cNvGraphicFramePr>
            <a:graphicFrameLocks noGrp="1"/>
          </p:cNvGraphicFramePr>
          <p:nvPr>
            <p:extLst>
              <p:ext uri="{D42A27DB-BD31-4B8C-83A1-F6EECF244321}">
                <p14:modId xmlns:p14="http://schemas.microsoft.com/office/powerpoint/2010/main" val="2170717576"/>
              </p:ext>
            </p:extLst>
          </p:nvPr>
        </p:nvGraphicFramePr>
        <p:xfrm>
          <a:off x="715017" y="1923704"/>
          <a:ext cx="10614246" cy="3755437"/>
        </p:xfrm>
        <a:graphic>
          <a:graphicData uri="http://schemas.openxmlformats.org/drawingml/2006/table">
            <a:tbl>
              <a:tblPr firstRow="1" bandRow="1">
                <a:tableStyleId>{5C22544A-7EE6-4342-B048-85BDC9FD1C3A}</a:tableStyleId>
              </a:tblPr>
              <a:tblGrid>
                <a:gridCol w="1769041">
                  <a:extLst>
                    <a:ext uri="{9D8B030D-6E8A-4147-A177-3AD203B41FA5}">
                      <a16:colId xmlns:a16="http://schemas.microsoft.com/office/drawing/2014/main" val="3244616842"/>
                    </a:ext>
                  </a:extLst>
                </a:gridCol>
                <a:gridCol w="1769041">
                  <a:extLst>
                    <a:ext uri="{9D8B030D-6E8A-4147-A177-3AD203B41FA5}">
                      <a16:colId xmlns:a16="http://schemas.microsoft.com/office/drawing/2014/main" val="430674172"/>
                    </a:ext>
                  </a:extLst>
                </a:gridCol>
                <a:gridCol w="1769041">
                  <a:extLst>
                    <a:ext uri="{9D8B030D-6E8A-4147-A177-3AD203B41FA5}">
                      <a16:colId xmlns:a16="http://schemas.microsoft.com/office/drawing/2014/main" val="4026057114"/>
                    </a:ext>
                  </a:extLst>
                </a:gridCol>
                <a:gridCol w="1769041">
                  <a:extLst>
                    <a:ext uri="{9D8B030D-6E8A-4147-A177-3AD203B41FA5}">
                      <a16:colId xmlns:a16="http://schemas.microsoft.com/office/drawing/2014/main" val="3217662333"/>
                    </a:ext>
                  </a:extLst>
                </a:gridCol>
                <a:gridCol w="1769041">
                  <a:extLst>
                    <a:ext uri="{9D8B030D-6E8A-4147-A177-3AD203B41FA5}">
                      <a16:colId xmlns:a16="http://schemas.microsoft.com/office/drawing/2014/main" val="3517698874"/>
                    </a:ext>
                  </a:extLst>
                </a:gridCol>
                <a:gridCol w="1769041">
                  <a:extLst>
                    <a:ext uri="{9D8B030D-6E8A-4147-A177-3AD203B41FA5}">
                      <a16:colId xmlns:a16="http://schemas.microsoft.com/office/drawing/2014/main" val="1199696440"/>
                    </a:ext>
                  </a:extLst>
                </a:gridCol>
              </a:tblGrid>
              <a:tr h="706472">
                <a:tc>
                  <a:txBody>
                    <a:bodyPr/>
                    <a:lstStyle/>
                    <a:p>
                      <a:r>
                        <a:rPr lang="en-US" sz="1200">
                          <a:solidFill>
                            <a:schemeClr val="tx1"/>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a:solidFill>
                            <a:schemeClr val="tx1"/>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a:solidFill>
                            <a:schemeClr val="tx1"/>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a:solidFill>
                            <a:schemeClr val="tx1"/>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a:solidFill>
                            <a:schemeClr val="tx1"/>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a:solidFill>
                            <a:schemeClr val="tx1"/>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776493418"/>
                  </a:ext>
                </a:extLst>
              </a:tr>
              <a:tr h="609793">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691536"/>
                  </a:ext>
                </a:extLst>
              </a:tr>
              <a:tr h="609793">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455665"/>
                  </a:ext>
                </a:extLst>
              </a:tr>
              <a:tr h="609793">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0078448"/>
                  </a:ext>
                </a:extLst>
              </a:tr>
              <a:tr h="609793">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7319117"/>
                  </a:ext>
                </a:extLst>
              </a:tr>
              <a:tr h="609793">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bg1">
                              <a:lumMod val="50000"/>
                            </a:schemeClr>
                          </a:solidFill>
                          <a:latin typeface="Open Sauce One"/>
                          <a:ea typeface="Lato"/>
                          <a:cs typeface="Lato"/>
                        </a:rPr>
                        <a:t>Lorem Ipsum</a:t>
                      </a:r>
                    </a:p>
                  </a:txBody>
                  <a:tcPr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357745"/>
                  </a:ext>
                </a:extLst>
              </a:tr>
            </a:tbl>
          </a:graphicData>
        </a:graphic>
      </p:graphicFrame>
    </p:spTree>
    <p:extLst>
      <p:ext uri="{BB962C8B-B14F-4D97-AF65-F5344CB8AC3E}">
        <p14:creationId xmlns:p14="http://schemas.microsoft.com/office/powerpoint/2010/main" val="31261241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1F41B97-0931-0308-5218-8A43EE6ABCBE}"/>
              </a:ext>
            </a:extLst>
          </p:cNvPr>
          <p:cNvGraphicFramePr>
            <a:graphicFrameLocks noChangeAspect="1"/>
          </p:cNvGraphicFramePr>
          <p:nvPr>
            <p:custDataLst>
              <p:tags r:id="rId1"/>
            </p:custDataLst>
            <p:extLst>
              <p:ext uri="{D42A27DB-BD31-4B8C-83A1-F6EECF244321}">
                <p14:modId xmlns:p14="http://schemas.microsoft.com/office/powerpoint/2010/main" val="3465009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think-cell data - do not delete" hidden="1">
                        <a:extLst>
                          <a:ext uri="{FF2B5EF4-FFF2-40B4-BE49-F238E27FC236}">
                            <a16:creationId xmlns:a16="http://schemas.microsoft.com/office/drawing/2014/main" id="{31F41B97-0931-0308-5218-8A43EE6AB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3C3FF0B7-92FB-BE9F-4CB5-EACC96E50199}"/>
              </a:ext>
            </a:extLst>
          </p:cNvPr>
          <p:cNvSpPr>
            <a:spLocks noGrp="1"/>
          </p:cNvSpPr>
          <p:nvPr>
            <p:ph type="title"/>
          </p:nvPr>
        </p:nvSpPr>
        <p:spPr/>
        <p:txBody>
          <a:bodyPr vert="horz"/>
          <a:lstStyle/>
          <a:p>
            <a:r>
              <a:rPr lang="en-US"/>
              <a:t>Laptop mockup</a:t>
            </a:r>
          </a:p>
        </p:txBody>
      </p:sp>
      <p:sp>
        <p:nvSpPr>
          <p:cNvPr id="4" name="Dia számának helye 3">
            <a:extLst>
              <a:ext uri="{FF2B5EF4-FFF2-40B4-BE49-F238E27FC236}">
                <a16:creationId xmlns:a16="http://schemas.microsoft.com/office/drawing/2014/main" id="{C33DD340-8648-AC0D-07E3-3F8B5C0115AD}"/>
              </a:ext>
            </a:extLst>
          </p:cNvPr>
          <p:cNvSpPr>
            <a:spLocks noGrp="1"/>
          </p:cNvSpPr>
          <p:nvPr>
            <p:ph type="sldNum" sz="quarter" idx="12"/>
          </p:nvPr>
        </p:nvSpPr>
        <p:spPr/>
        <p:txBody>
          <a:bodyPr/>
          <a:lstStyle/>
          <a:p>
            <a:fld id="{61F2D668-955E-AB45-9B4E-D4D3490B1261}" type="slidenum">
              <a:rPr lang="en-US" smtClean="0"/>
              <a:t>44</a:t>
            </a:fld>
            <a:endParaRPr lang="en-US"/>
          </a:p>
        </p:txBody>
      </p:sp>
      <p:sp>
        <p:nvSpPr>
          <p:cNvPr id="5" name="Tartalom helye 4">
            <a:extLst>
              <a:ext uri="{FF2B5EF4-FFF2-40B4-BE49-F238E27FC236}">
                <a16:creationId xmlns:a16="http://schemas.microsoft.com/office/drawing/2014/main" id="{836BFF24-9F69-018A-62C4-551879CA597C}"/>
              </a:ext>
            </a:extLst>
          </p:cNvPr>
          <p:cNvSpPr>
            <a:spLocks noGrp="1"/>
          </p:cNvSpPr>
          <p:nvPr>
            <p:ph idx="13"/>
          </p:nvPr>
        </p:nvSpPr>
        <p:spPr/>
        <p:txBody>
          <a:bodyPr/>
          <a:lstStyle/>
          <a:p>
            <a:r>
              <a:rPr lang="en-US"/>
              <a:t>Resources</a:t>
            </a:r>
          </a:p>
        </p:txBody>
      </p:sp>
      <p:grpSp>
        <p:nvGrpSpPr>
          <p:cNvPr id="7" name="Csoportba foglalás 6">
            <a:extLst>
              <a:ext uri="{FF2B5EF4-FFF2-40B4-BE49-F238E27FC236}">
                <a16:creationId xmlns:a16="http://schemas.microsoft.com/office/drawing/2014/main" id="{7CCB0565-DCEE-CFBE-B7A9-81F4C467C015}"/>
              </a:ext>
            </a:extLst>
          </p:cNvPr>
          <p:cNvGrpSpPr/>
          <p:nvPr/>
        </p:nvGrpSpPr>
        <p:grpSpPr>
          <a:xfrm>
            <a:off x="1555708" y="1686741"/>
            <a:ext cx="6472518" cy="4207793"/>
            <a:chOff x="1555708" y="1686741"/>
            <a:chExt cx="6472518" cy="4207793"/>
          </a:xfrm>
        </p:grpSpPr>
        <p:pic>
          <p:nvPicPr>
            <p:cNvPr id="6" name="Kép 5">
              <a:extLst>
                <a:ext uri="{FF2B5EF4-FFF2-40B4-BE49-F238E27FC236}">
                  <a16:creationId xmlns:a16="http://schemas.microsoft.com/office/drawing/2014/main" id="{DF002485-A250-5726-54B8-718EC32DE83B}"/>
                </a:ext>
              </a:extLst>
            </p:cNvPr>
            <p:cNvPicPr>
              <a:picLocks noChangeAspect="1"/>
            </p:cNvPicPr>
            <p:nvPr/>
          </p:nvPicPr>
          <p:blipFill>
            <a:blip r:embed="rId5"/>
            <a:stretch>
              <a:fillRect/>
            </a:stretch>
          </p:blipFill>
          <p:spPr>
            <a:xfrm>
              <a:off x="1555708" y="1686741"/>
              <a:ext cx="6472518" cy="4207793"/>
            </a:xfrm>
            <a:prstGeom prst="rect">
              <a:avLst/>
            </a:prstGeom>
          </p:spPr>
        </p:pic>
        <p:sp>
          <p:nvSpPr>
            <p:cNvPr id="3" name="Téglalap 2">
              <a:extLst>
                <a:ext uri="{FF2B5EF4-FFF2-40B4-BE49-F238E27FC236}">
                  <a16:creationId xmlns:a16="http://schemas.microsoft.com/office/drawing/2014/main" id="{8823D480-8AB3-6E5E-0D13-227237016528}"/>
                </a:ext>
              </a:extLst>
            </p:cNvPr>
            <p:cNvSpPr/>
            <p:nvPr/>
          </p:nvSpPr>
          <p:spPr>
            <a:xfrm>
              <a:off x="2311401" y="2178050"/>
              <a:ext cx="4962524" cy="322579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691411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736E805-E86F-9DDC-ACC8-3305A41147FD}"/>
              </a:ext>
            </a:extLst>
          </p:cNvPr>
          <p:cNvGraphicFramePr>
            <a:graphicFrameLocks noChangeAspect="1"/>
          </p:cNvGraphicFramePr>
          <p:nvPr>
            <p:custDataLst>
              <p:tags r:id="rId1"/>
            </p:custDataLst>
            <p:extLst>
              <p:ext uri="{D42A27DB-BD31-4B8C-83A1-F6EECF244321}">
                <p14:modId xmlns:p14="http://schemas.microsoft.com/office/powerpoint/2010/main" val="4165012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6736E805-E86F-9DDC-ACC8-3305A41147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Chart style</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45</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esources</a:t>
            </a:r>
          </a:p>
        </p:txBody>
      </p:sp>
      <p:sp>
        <p:nvSpPr>
          <p:cNvPr id="6" name="Lekerekített téglalap 5">
            <a:extLst>
              <a:ext uri="{FF2B5EF4-FFF2-40B4-BE49-F238E27FC236}">
                <a16:creationId xmlns:a16="http://schemas.microsoft.com/office/drawing/2014/main" id="{E91706BC-ABE7-EBA0-3F20-1A8E301B2950}"/>
              </a:ext>
            </a:extLst>
          </p:cNvPr>
          <p:cNvSpPr/>
          <p:nvPr/>
        </p:nvSpPr>
        <p:spPr>
          <a:xfrm>
            <a:off x="407986" y="1934143"/>
            <a:ext cx="4052535" cy="4047556"/>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uce One" pitchFamily="2" charset="0"/>
              <a:ea typeface="+mn-ea"/>
              <a:cs typeface="+mn-cs"/>
            </a:endParaRPr>
          </a:p>
        </p:txBody>
      </p:sp>
      <p:sp>
        <p:nvSpPr>
          <p:cNvPr id="7" name="Lekerekített téglalap 6">
            <a:extLst>
              <a:ext uri="{FF2B5EF4-FFF2-40B4-BE49-F238E27FC236}">
                <a16:creationId xmlns:a16="http://schemas.microsoft.com/office/drawing/2014/main" id="{3579854A-810E-1E88-9D38-004E7F5C8F7D}"/>
              </a:ext>
            </a:extLst>
          </p:cNvPr>
          <p:cNvSpPr/>
          <p:nvPr/>
        </p:nvSpPr>
        <p:spPr>
          <a:xfrm>
            <a:off x="4653683" y="1933136"/>
            <a:ext cx="2884633" cy="4047556"/>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uce One" pitchFamily="2" charset="0"/>
              <a:ea typeface="+mn-ea"/>
              <a:cs typeface="+mn-cs"/>
            </a:endParaRPr>
          </a:p>
        </p:txBody>
      </p:sp>
      <p:graphicFrame>
        <p:nvGraphicFramePr>
          <p:cNvPr id="16" name="Chart 10">
            <a:extLst>
              <a:ext uri="{FF2B5EF4-FFF2-40B4-BE49-F238E27FC236}">
                <a16:creationId xmlns:a16="http://schemas.microsoft.com/office/drawing/2014/main" id="{6BC62A66-1EC6-3B36-0BB0-5C1CC84AD2A2}"/>
              </a:ext>
            </a:extLst>
          </p:cNvPr>
          <p:cNvGraphicFramePr/>
          <p:nvPr>
            <p:extLst>
              <p:ext uri="{D42A27DB-BD31-4B8C-83A1-F6EECF244321}">
                <p14:modId xmlns:p14="http://schemas.microsoft.com/office/powerpoint/2010/main" val="3588892318"/>
              </p:ext>
            </p:extLst>
          </p:nvPr>
        </p:nvGraphicFramePr>
        <p:xfrm>
          <a:off x="4811333" y="2788623"/>
          <a:ext cx="2549662" cy="2822993"/>
        </p:xfrm>
        <a:graphic>
          <a:graphicData uri="http://schemas.openxmlformats.org/drawingml/2006/chart">
            <c:chart xmlns:c="http://schemas.openxmlformats.org/drawingml/2006/chart" xmlns:r="http://schemas.openxmlformats.org/officeDocument/2006/relationships" r:id="rId5"/>
          </a:graphicData>
        </a:graphic>
      </p:graphicFrame>
      <p:sp>
        <p:nvSpPr>
          <p:cNvPr id="18" name="Tartalom helye 4">
            <a:extLst>
              <a:ext uri="{FF2B5EF4-FFF2-40B4-BE49-F238E27FC236}">
                <a16:creationId xmlns:a16="http://schemas.microsoft.com/office/drawing/2014/main" id="{005FF649-3523-ABF4-B939-FED9E6AD66EC}"/>
              </a:ext>
            </a:extLst>
          </p:cNvPr>
          <p:cNvSpPr txBox="1">
            <a:spLocks/>
          </p:cNvSpPr>
          <p:nvPr/>
        </p:nvSpPr>
        <p:spPr>
          <a:xfrm>
            <a:off x="697095" y="2224841"/>
            <a:ext cx="2648832" cy="394723"/>
          </a:xfrm>
          <a:prstGeom prst="rect">
            <a:avLst/>
          </a:prstGeom>
        </p:spPr>
        <p:txBody>
          <a:bodyPr vert="horz" wrap="square" lIns="0" tIns="45720" rIns="91440" bIns="45720" rtlCol="0">
            <a:spAutoFit/>
          </a:bodyPr>
          <a:lstStyle>
            <a:lvl1pPr marL="0" indent="0" algn="l" defTabSz="914400" rtl="0" eaLnBrk="1" latinLnBrk="0" hangingPunct="1">
              <a:lnSpc>
                <a:spcPct val="120000"/>
              </a:lnSpc>
              <a:spcBef>
                <a:spcPts val="1000"/>
              </a:spcBef>
              <a:spcAft>
                <a:spcPts val="600"/>
              </a:spcAft>
              <a:buClr>
                <a:schemeClr val="accent4"/>
              </a:buClr>
              <a:buFont typeface="Arial" panose="020B0604020202020204" pitchFamily="34" charset="0"/>
              <a:buNone/>
              <a:defRPr sz="1600" kern="1200">
                <a:solidFill>
                  <a:schemeClr val="accent5"/>
                </a:solidFill>
                <a:latin typeface="Open Sauce One" pitchFamily="2" charset="0"/>
                <a:ea typeface="+mn-ea"/>
                <a:cs typeface="+mn-cs"/>
              </a:defRPr>
            </a:lvl1pPr>
            <a:lvl2pPr marL="6858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600"/>
              </a:spcAft>
              <a:buClr>
                <a:srgbClr val="FF0050"/>
              </a:buClr>
              <a:buSzTx/>
              <a:buFont typeface="Arial" panose="020B0604020202020204" pitchFamily="34" charset="0"/>
              <a:buNone/>
              <a:tabLst/>
              <a:defRPr/>
            </a:pPr>
            <a:r>
              <a:rPr kumimoji="0" lang="en-US" sz="1800" b="1" i="0" u="none" strike="noStrike" kern="1200" cap="none" spc="0" normalizeH="0" baseline="0" noProof="0">
                <a:ln>
                  <a:noFill/>
                </a:ln>
                <a:solidFill>
                  <a:schemeClr val="tx1"/>
                </a:solidFill>
                <a:effectLst/>
                <a:uLnTx/>
                <a:uFillTx/>
                <a:latin typeface="Open Sauce One" pitchFamily="2" charset="0"/>
                <a:ea typeface="+mn-ea"/>
                <a:cs typeface="+mn-cs"/>
              </a:rPr>
              <a:t>Chart name</a:t>
            </a:r>
          </a:p>
        </p:txBody>
      </p:sp>
      <p:grpSp>
        <p:nvGrpSpPr>
          <p:cNvPr id="36" name="Group 32">
            <a:extLst>
              <a:ext uri="{FF2B5EF4-FFF2-40B4-BE49-F238E27FC236}">
                <a16:creationId xmlns:a16="http://schemas.microsoft.com/office/drawing/2014/main" id="{5EF2AD58-F0F9-84C0-AB3C-F26830B83044}"/>
              </a:ext>
            </a:extLst>
          </p:cNvPr>
          <p:cNvGrpSpPr/>
          <p:nvPr/>
        </p:nvGrpSpPr>
        <p:grpSpPr>
          <a:xfrm>
            <a:off x="998328" y="3577340"/>
            <a:ext cx="2870680" cy="1523913"/>
            <a:chOff x="2996840" y="1998542"/>
            <a:chExt cx="6198321" cy="3290403"/>
          </a:xfrm>
        </p:grpSpPr>
        <p:sp>
          <p:nvSpPr>
            <p:cNvPr id="37" name="Freeform: Shape 2">
              <a:extLst>
                <a:ext uri="{FF2B5EF4-FFF2-40B4-BE49-F238E27FC236}">
                  <a16:creationId xmlns:a16="http://schemas.microsoft.com/office/drawing/2014/main" id="{BB1B4E37-DCCD-7E4E-7898-7577833DD67C}"/>
                </a:ext>
              </a:extLst>
            </p:cNvPr>
            <p:cNvSpPr>
              <a:spLocks/>
            </p:cNvSpPr>
            <p:nvPr/>
          </p:nvSpPr>
          <p:spPr bwMode="auto">
            <a:xfrm>
              <a:off x="3599813" y="2149097"/>
              <a:ext cx="2062637" cy="2103233"/>
            </a:xfrm>
            <a:custGeom>
              <a:avLst/>
              <a:gdLst>
                <a:gd name="connsiteX0" fmla="*/ 1543849 w 2062637"/>
                <a:gd name="connsiteY0" fmla="*/ 0 h 2103233"/>
                <a:gd name="connsiteX1" fmla="*/ 1700241 w 2062637"/>
                <a:gd name="connsiteY1" fmla="*/ 481357 h 2103233"/>
                <a:gd name="connsiteX2" fmla="*/ 1986209 w 2062637"/>
                <a:gd name="connsiteY2" fmla="*/ 481357 h 2103233"/>
                <a:gd name="connsiteX3" fmla="*/ 1986209 w 2062637"/>
                <a:gd name="connsiteY3" fmla="*/ 1314799 h 2103233"/>
                <a:gd name="connsiteX4" fmla="*/ 1971024 w 2062637"/>
                <a:gd name="connsiteY4" fmla="*/ 1314799 h 2103233"/>
                <a:gd name="connsiteX5" fmla="*/ 2062637 w 2062637"/>
                <a:gd name="connsiteY5" fmla="*/ 1596774 h 2103233"/>
                <a:gd name="connsiteX6" fmla="*/ 1943364 w 2062637"/>
                <a:gd name="connsiteY6" fmla="*/ 1640429 h 2103233"/>
                <a:gd name="connsiteX7" fmla="*/ 1400257 w 2062637"/>
                <a:gd name="connsiteY7" fmla="*/ 2045657 h 2103233"/>
                <a:gd name="connsiteX8" fmla="*/ 1357203 w 2062637"/>
                <a:gd name="connsiteY8" fmla="*/ 2103233 h 2103233"/>
                <a:gd name="connsiteX9" fmla="*/ 796927 w 2062637"/>
                <a:gd name="connsiteY9" fmla="*/ 1696096 h 2103233"/>
                <a:gd name="connsiteX10" fmla="*/ 796927 w 2062637"/>
                <a:gd name="connsiteY10" fmla="*/ 1950463 h 2103233"/>
                <a:gd name="connsiteX11" fmla="*/ 271147 w 2062637"/>
                <a:gd name="connsiteY11" fmla="*/ 1950463 h 2103233"/>
                <a:gd name="connsiteX12" fmla="*/ 271147 w 2062637"/>
                <a:gd name="connsiteY12" fmla="*/ 1314026 h 2103233"/>
                <a:gd name="connsiteX13" fmla="*/ 0 w 2062637"/>
                <a:gd name="connsiteY13" fmla="*/ 1116991 h 2103233"/>
                <a:gd name="connsiteX14" fmla="*/ 104370 w 2062637"/>
                <a:gd name="connsiteY14" fmla="*/ 977419 h 2103233"/>
                <a:gd name="connsiteX15" fmla="*/ 1289676 w 2062637"/>
                <a:gd name="connsiteY15" fmla="*/ 93028 h 2103233"/>
                <a:gd name="connsiteX0" fmla="*/ 1543849 w 2062637"/>
                <a:gd name="connsiteY0" fmla="*/ 0 h 2103233"/>
                <a:gd name="connsiteX1" fmla="*/ 1700241 w 2062637"/>
                <a:gd name="connsiteY1" fmla="*/ 481357 h 2103233"/>
                <a:gd name="connsiteX2" fmla="*/ 1986209 w 2062637"/>
                <a:gd name="connsiteY2" fmla="*/ 481357 h 2103233"/>
                <a:gd name="connsiteX3" fmla="*/ 1986209 w 2062637"/>
                <a:gd name="connsiteY3" fmla="*/ 1314799 h 2103233"/>
                <a:gd name="connsiteX4" fmla="*/ 1971024 w 2062637"/>
                <a:gd name="connsiteY4" fmla="*/ 1314799 h 2103233"/>
                <a:gd name="connsiteX5" fmla="*/ 2062637 w 2062637"/>
                <a:gd name="connsiteY5" fmla="*/ 1596774 h 2103233"/>
                <a:gd name="connsiteX6" fmla="*/ 1943364 w 2062637"/>
                <a:gd name="connsiteY6" fmla="*/ 1640429 h 2103233"/>
                <a:gd name="connsiteX7" fmla="*/ 1400257 w 2062637"/>
                <a:gd name="connsiteY7" fmla="*/ 2045657 h 2103233"/>
                <a:gd name="connsiteX8" fmla="*/ 1357203 w 2062637"/>
                <a:gd name="connsiteY8" fmla="*/ 2103233 h 2103233"/>
                <a:gd name="connsiteX9" fmla="*/ 796927 w 2062637"/>
                <a:gd name="connsiteY9" fmla="*/ 1696096 h 2103233"/>
                <a:gd name="connsiteX10" fmla="*/ 796927 w 2062637"/>
                <a:gd name="connsiteY10" fmla="*/ 1950463 h 2103233"/>
                <a:gd name="connsiteX11" fmla="*/ 271147 w 2062637"/>
                <a:gd name="connsiteY11" fmla="*/ 1950463 h 2103233"/>
                <a:gd name="connsiteX12" fmla="*/ 0 w 2062637"/>
                <a:gd name="connsiteY12" fmla="*/ 1116991 h 2103233"/>
                <a:gd name="connsiteX13" fmla="*/ 104370 w 2062637"/>
                <a:gd name="connsiteY13" fmla="*/ 977419 h 2103233"/>
                <a:gd name="connsiteX14" fmla="*/ 1289676 w 2062637"/>
                <a:gd name="connsiteY14" fmla="*/ 93028 h 2103233"/>
                <a:gd name="connsiteX15" fmla="*/ 1543849 w 2062637"/>
                <a:gd name="connsiteY15" fmla="*/ 0 h 2103233"/>
                <a:gd name="connsiteX0" fmla="*/ 1543849 w 2062637"/>
                <a:gd name="connsiteY0" fmla="*/ 0 h 2103233"/>
                <a:gd name="connsiteX1" fmla="*/ 1700241 w 2062637"/>
                <a:gd name="connsiteY1" fmla="*/ 481357 h 2103233"/>
                <a:gd name="connsiteX2" fmla="*/ 1986209 w 2062637"/>
                <a:gd name="connsiteY2" fmla="*/ 481357 h 2103233"/>
                <a:gd name="connsiteX3" fmla="*/ 1986209 w 2062637"/>
                <a:gd name="connsiteY3" fmla="*/ 1314799 h 2103233"/>
                <a:gd name="connsiteX4" fmla="*/ 1971024 w 2062637"/>
                <a:gd name="connsiteY4" fmla="*/ 1314799 h 2103233"/>
                <a:gd name="connsiteX5" fmla="*/ 2062637 w 2062637"/>
                <a:gd name="connsiteY5" fmla="*/ 1596774 h 2103233"/>
                <a:gd name="connsiteX6" fmla="*/ 1943364 w 2062637"/>
                <a:gd name="connsiteY6" fmla="*/ 1640429 h 2103233"/>
                <a:gd name="connsiteX7" fmla="*/ 1400257 w 2062637"/>
                <a:gd name="connsiteY7" fmla="*/ 2045657 h 2103233"/>
                <a:gd name="connsiteX8" fmla="*/ 1357203 w 2062637"/>
                <a:gd name="connsiteY8" fmla="*/ 2103233 h 2103233"/>
                <a:gd name="connsiteX9" fmla="*/ 796927 w 2062637"/>
                <a:gd name="connsiteY9" fmla="*/ 1950463 h 2103233"/>
                <a:gd name="connsiteX10" fmla="*/ 271147 w 2062637"/>
                <a:gd name="connsiteY10" fmla="*/ 1950463 h 2103233"/>
                <a:gd name="connsiteX11" fmla="*/ 0 w 2062637"/>
                <a:gd name="connsiteY11" fmla="*/ 1116991 h 2103233"/>
                <a:gd name="connsiteX12" fmla="*/ 104370 w 2062637"/>
                <a:gd name="connsiteY12" fmla="*/ 977419 h 2103233"/>
                <a:gd name="connsiteX13" fmla="*/ 1289676 w 2062637"/>
                <a:gd name="connsiteY13" fmla="*/ 93028 h 2103233"/>
                <a:gd name="connsiteX14" fmla="*/ 1543849 w 2062637"/>
                <a:gd name="connsiteY14" fmla="*/ 0 h 2103233"/>
                <a:gd name="connsiteX0" fmla="*/ 1543849 w 2062637"/>
                <a:gd name="connsiteY0" fmla="*/ 0 h 2103233"/>
                <a:gd name="connsiteX1" fmla="*/ 1700241 w 2062637"/>
                <a:gd name="connsiteY1" fmla="*/ 481357 h 2103233"/>
                <a:gd name="connsiteX2" fmla="*/ 1986209 w 2062637"/>
                <a:gd name="connsiteY2" fmla="*/ 481357 h 2103233"/>
                <a:gd name="connsiteX3" fmla="*/ 1986209 w 2062637"/>
                <a:gd name="connsiteY3" fmla="*/ 1314799 h 2103233"/>
                <a:gd name="connsiteX4" fmla="*/ 1971024 w 2062637"/>
                <a:gd name="connsiteY4" fmla="*/ 1314799 h 2103233"/>
                <a:gd name="connsiteX5" fmla="*/ 2062637 w 2062637"/>
                <a:gd name="connsiteY5" fmla="*/ 1596774 h 2103233"/>
                <a:gd name="connsiteX6" fmla="*/ 1943364 w 2062637"/>
                <a:gd name="connsiteY6" fmla="*/ 1640429 h 2103233"/>
                <a:gd name="connsiteX7" fmla="*/ 1400257 w 2062637"/>
                <a:gd name="connsiteY7" fmla="*/ 2045657 h 2103233"/>
                <a:gd name="connsiteX8" fmla="*/ 1357203 w 2062637"/>
                <a:gd name="connsiteY8" fmla="*/ 2103233 h 2103233"/>
                <a:gd name="connsiteX9" fmla="*/ 271147 w 2062637"/>
                <a:gd name="connsiteY9" fmla="*/ 1950463 h 2103233"/>
                <a:gd name="connsiteX10" fmla="*/ 0 w 2062637"/>
                <a:gd name="connsiteY10" fmla="*/ 1116991 h 2103233"/>
                <a:gd name="connsiteX11" fmla="*/ 104370 w 2062637"/>
                <a:gd name="connsiteY11" fmla="*/ 977419 h 2103233"/>
                <a:gd name="connsiteX12" fmla="*/ 1289676 w 2062637"/>
                <a:gd name="connsiteY12" fmla="*/ 93028 h 2103233"/>
                <a:gd name="connsiteX13" fmla="*/ 1543849 w 2062637"/>
                <a:gd name="connsiteY13" fmla="*/ 0 h 2103233"/>
                <a:gd name="connsiteX0" fmla="*/ 1543849 w 2062637"/>
                <a:gd name="connsiteY0" fmla="*/ 0 h 2103233"/>
                <a:gd name="connsiteX1" fmla="*/ 1986209 w 2062637"/>
                <a:gd name="connsiteY1" fmla="*/ 481357 h 2103233"/>
                <a:gd name="connsiteX2" fmla="*/ 1986209 w 2062637"/>
                <a:gd name="connsiteY2" fmla="*/ 1314799 h 2103233"/>
                <a:gd name="connsiteX3" fmla="*/ 1971024 w 2062637"/>
                <a:gd name="connsiteY3" fmla="*/ 1314799 h 2103233"/>
                <a:gd name="connsiteX4" fmla="*/ 2062637 w 2062637"/>
                <a:gd name="connsiteY4" fmla="*/ 1596774 h 2103233"/>
                <a:gd name="connsiteX5" fmla="*/ 1943364 w 2062637"/>
                <a:gd name="connsiteY5" fmla="*/ 1640429 h 2103233"/>
                <a:gd name="connsiteX6" fmla="*/ 1400257 w 2062637"/>
                <a:gd name="connsiteY6" fmla="*/ 2045657 h 2103233"/>
                <a:gd name="connsiteX7" fmla="*/ 1357203 w 2062637"/>
                <a:gd name="connsiteY7" fmla="*/ 2103233 h 2103233"/>
                <a:gd name="connsiteX8" fmla="*/ 271147 w 2062637"/>
                <a:gd name="connsiteY8" fmla="*/ 1950463 h 2103233"/>
                <a:gd name="connsiteX9" fmla="*/ 0 w 2062637"/>
                <a:gd name="connsiteY9" fmla="*/ 1116991 h 2103233"/>
                <a:gd name="connsiteX10" fmla="*/ 104370 w 2062637"/>
                <a:gd name="connsiteY10" fmla="*/ 977419 h 2103233"/>
                <a:gd name="connsiteX11" fmla="*/ 1289676 w 2062637"/>
                <a:gd name="connsiteY11" fmla="*/ 93028 h 2103233"/>
                <a:gd name="connsiteX12" fmla="*/ 1543849 w 2062637"/>
                <a:gd name="connsiteY12" fmla="*/ 0 h 2103233"/>
                <a:gd name="connsiteX0" fmla="*/ 1543849 w 2062637"/>
                <a:gd name="connsiteY0" fmla="*/ 0 h 2103233"/>
                <a:gd name="connsiteX1" fmla="*/ 1986209 w 2062637"/>
                <a:gd name="connsiteY1" fmla="*/ 481357 h 2103233"/>
                <a:gd name="connsiteX2" fmla="*/ 1986209 w 2062637"/>
                <a:gd name="connsiteY2" fmla="*/ 1314799 h 2103233"/>
                <a:gd name="connsiteX3" fmla="*/ 2062637 w 2062637"/>
                <a:gd name="connsiteY3" fmla="*/ 1596774 h 2103233"/>
                <a:gd name="connsiteX4" fmla="*/ 1943364 w 2062637"/>
                <a:gd name="connsiteY4" fmla="*/ 1640429 h 2103233"/>
                <a:gd name="connsiteX5" fmla="*/ 1400257 w 2062637"/>
                <a:gd name="connsiteY5" fmla="*/ 2045657 h 2103233"/>
                <a:gd name="connsiteX6" fmla="*/ 1357203 w 2062637"/>
                <a:gd name="connsiteY6" fmla="*/ 2103233 h 2103233"/>
                <a:gd name="connsiteX7" fmla="*/ 271147 w 2062637"/>
                <a:gd name="connsiteY7" fmla="*/ 1950463 h 2103233"/>
                <a:gd name="connsiteX8" fmla="*/ 0 w 2062637"/>
                <a:gd name="connsiteY8" fmla="*/ 1116991 h 2103233"/>
                <a:gd name="connsiteX9" fmla="*/ 104370 w 2062637"/>
                <a:gd name="connsiteY9" fmla="*/ 977419 h 2103233"/>
                <a:gd name="connsiteX10" fmla="*/ 1289676 w 2062637"/>
                <a:gd name="connsiteY10" fmla="*/ 93028 h 2103233"/>
                <a:gd name="connsiteX11" fmla="*/ 1543849 w 2062637"/>
                <a:gd name="connsiteY11" fmla="*/ 0 h 2103233"/>
                <a:gd name="connsiteX0" fmla="*/ 1543849 w 2062637"/>
                <a:gd name="connsiteY0" fmla="*/ 0 h 2103233"/>
                <a:gd name="connsiteX1" fmla="*/ 1986209 w 2062637"/>
                <a:gd name="connsiteY1" fmla="*/ 481357 h 2103233"/>
                <a:gd name="connsiteX2" fmla="*/ 2062637 w 2062637"/>
                <a:gd name="connsiteY2" fmla="*/ 1596774 h 2103233"/>
                <a:gd name="connsiteX3" fmla="*/ 1943364 w 2062637"/>
                <a:gd name="connsiteY3" fmla="*/ 1640429 h 2103233"/>
                <a:gd name="connsiteX4" fmla="*/ 1400257 w 2062637"/>
                <a:gd name="connsiteY4" fmla="*/ 2045657 h 2103233"/>
                <a:gd name="connsiteX5" fmla="*/ 1357203 w 2062637"/>
                <a:gd name="connsiteY5" fmla="*/ 2103233 h 2103233"/>
                <a:gd name="connsiteX6" fmla="*/ 271147 w 2062637"/>
                <a:gd name="connsiteY6" fmla="*/ 1950463 h 2103233"/>
                <a:gd name="connsiteX7" fmla="*/ 0 w 2062637"/>
                <a:gd name="connsiteY7" fmla="*/ 1116991 h 2103233"/>
                <a:gd name="connsiteX8" fmla="*/ 104370 w 2062637"/>
                <a:gd name="connsiteY8" fmla="*/ 977419 h 2103233"/>
                <a:gd name="connsiteX9" fmla="*/ 1289676 w 2062637"/>
                <a:gd name="connsiteY9" fmla="*/ 93028 h 2103233"/>
                <a:gd name="connsiteX10" fmla="*/ 1543849 w 2062637"/>
                <a:gd name="connsiteY10" fmla="*/ 0 h 210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2637" h="2103233">
                  <a:moveTo>
                    <a:pt x="1543849" y="0"/>
                  </a:moveTo>
                  <a:lnTo>
                    <a:pt x="1986209" y="481357"/>
                  </a:lnTo>
                  <a:lnTo>
                    <a:pt x="2062637" y="1596774"/>
                  </a:lnTo>
                  <a:lnTo>
                    <a:pt x="1943364" y="1640429"/>
                  </a:lnTo>
                  <a:cubicBezTo>
                    <a:pt x="1730970" y="1730265"/>
                    <a:pt x="1544976" y="1870298"/>
                    <a:pt x="1400257" y="2045657"/>
                  </a:cubicBezTo>
                  <a:lnTo>
                    <a:pt x="1357203" y="2103233"/>
                  </a:lnTo>
                  <a:lnTo>
                    <a:pt x="271147" y="1950463"/>
                  </a:lnTo>
                  <a:lnTo>
                    <a:pt x="0" y="1116991"/>
                  </a:lnTo>
                  <a:lnTo>
                    <a:pt x="104370" y="977419"/>
                  </a:lnTo>
                  <a:cubicBezTo>
                    <a:pt x="420213" y="594707"/>
                    <a:pt x="826134" y="289090"/>
                    <a:pt x="1289676" y="93028"/>
                  </a:cubicBezTo>
                  <a:lnTo>
                    <a:pt x="1543849" y="0"/>
                  </a:lnTo>
                  <a:close/>
                </a:path>
              </a:pathLst>
            </a:custGeom>
            <a:solidFill>
              <a:schemeClr val="accent5">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latin typeface="Open Sauce One" pitchFamily="2" charset="0"/>
              </a:endParaRPr>
            </a:p>
          </p:txBody>
        </p:sp>
        <p:sp>
          <p:nvSpPr>
            <p:cNvPr id="38" name="Freeform: Shape 3">
              <a:extLst>
                <a:ext uri="{FF2B5EF4-FFF2-40B4-BE49-F238E27FC236}">
                  <a16:creationId xmlns:a16="http://schemas.microsoft.com/office/drawing/2014/main" id="{8510E912-149B-B525-7983-521B30947C61}"/>
                </a:ext>
              </a:extLst>
            </p:cNvPr>
            <p:cNvSpPr>
              <a:spLocks/>
            </p:cNvSpPr>
            <p:nvPr/>
          </p:nvSpPr>
          <p:spPr bwMode="auto">
            <a:xfrm>
              <a:off x="6529555" y="2149138"/>
              <a:ext cx="2062690" cy="2103227"/>
            </a:xfrm>
            <a:custGeom>
              <a:avLst/>
              <a:gdLst>
                <a:gd name="connsiteX0" fmla="*/ 518894 w 2062690"/>
                <a:gd name="connsiteY0" fmla="*/ 0 h 2103227"/>
                <a:gd name="connsiteX1" fmla="*/ 772957 w 2062690"/>
                <a:gd name="connsiteY1" fmla="*/ 92987 h 2103227"/>
                <a:gd name="connsiteX2" fmla="*/ 1958263 w 2062690"/>
                <a:gd name="connsiteY2" fmla="*/ 977378 h 2103227"/>
                <a:gd name="connsiteX3" fmla="*/ 2062690 w 2062690"/>
                <a:gd name="connsiteY3" fmla="*/ 1117026 h 2103227"/>
                <a:gd name="connsiteX4" fmla="*/ 1491274 w 2062690"/>
                <a:gd name="connsiteY4" fmla="*/ 1532232 h 2103227"/>
                <a:gd name="connsiteX5" fmla="*/ 1491274 w 2062690"/>
                <a:gd name="connsiteY5" fmla="*/ 1891462 h 2103227"/>
                <a:gd name="connsiteX6" fmla="*/ 996893 w 2062690"/>
                <a:gd name="connsiteY6" fmla="*/ 1891462 h 2103227"/>
                <a:gd name="connsiteX7" fmla="*/ 705457 w 2062690"/>
                <a:gd name="connsiteY7" fmla="*/ 2103227 h 2103227"/>
                <a:gd name="connsiteX8" fmla="*/ 662376 w 2062690"/>
                <a:gd name="connsiteY8" fmla="*/ 2045616 h 2103227"/>
                <a:gd name="connsiteX9" fmla="*/ 119269 w 2062690"/>
                <a:gd name="connsiteY9" fmla="*/ 1640388 h 2103227"/>
                <a:gd name="connsiteX10" fmla="*/ 0 w 2062690"/>
                <a:gd name="connsiteY10" fmla="*/ 1596735 h 2103227"/>
                <a:gd name="connsiteX11" fmla="*/ 195695 w 2062690"/>
                <a:gd name="connsiteY11" fmla="*/ 994545 h 2103227"/>
                <a:gd name="connsiteX12" fmla="*/ 195695 w 2062690"/>
                <a:gd name="connsiteY12" fmla="*/ 401908 h 2103227"/>
                <a:gd name="connsiteX13" fmla="*/ 388285 w 2062690"/>
                <a:gd name="connsiteY13" fmla="*/ 401908 h 2103227"/>
                <a:gd name="connsiteX0" fmla="*/ 518894 w 2062690"/>
                <a:gd name="connsiteY0" fmla="*/ 0 h 2103227"/>
                <a:gd name="connsiteX1" fmla="*/ 772957 w 2062690"/>
                <a:gd name="connsiteY1" fmla="*/ 92987 h 2103227"/>
                <a:gd name="connsiteX2" fmla="*/ 1958263 w 2062690"/>
                <a:gd name="connsiteY2" fmla="*/ 977378 h 2103227"/>
                <a:gd name="connsiteX3" fmla="*/ 2062690 w 2062690"/>
                <a:gd name="connsiteY3" fmla="*/ 1117026 h 2103227"/>
                <a:gd name="connsiteX4" fmla="*/ 1491274 w 2062690"/>
                <a:gd name="connsiteY4" fmla="*/ 1532232 h 2103227"/>
                <a:gd name="connsiteX5" fmla="*/ 1491274 w 2062690"/>
                <a:gd name="connsiteY5" fmla="*/ 1891462 h 2103227"/>
                <a:gd name="connsiteX6" fmla="*/ 996893 w 2062690"/>
                <a:gd name="connsiteY6" fmla="*/ 1891462 h 2103227"/>
                <a:gd name="connsiteX7" fmla="*/ 705457 w 2062690"/>
                <a:gd name="connsiteY7" fmla="*/ 2103227 h 2103227"/>
                <a:gd name="connsiteX8" fmla="*/ 662376 w 2062690"/>
                <a:gd name="connsiteY8" fmla="*/ 2045616 h 2103227"/>
                <a:gd name="connsiteX9" fmla="*/ 119269 w 2062690"/>
                <a:gd name="connsiteY9" fmla="*/ 1640388 h 2103227"/>
                <a:gd name="connsiteX10" fmla="*/ 0 w 2062690"/>
                <a:gd name="connsiteY10" fmla="*/ 1596735 h 2103227"/>
                <a:gd name="connsiteX11" fmla="*/ 195695 w 2062690"/>
                <a:gd name="connsiteY11" fmla="*/ 401908 h 2103227"/>
                <a:gd name="connsiteX12" fmla="*/ 388285 w 2062690"/>
                <a:gd name="connsiteY12" fmla="*/ 401908 h 2103227"/>
                <a:gd name="connsiteX13" fmla="*/ 518894 w 2062690"/>
                <a:gd name="connsiteY13" fmla="*/ 0 h 2103227"/>
                <a:gd name="connsiteX0" fmla="*/ 518894 w 2062690"/>
                <a:gd name="connsiteY0" fmla="*/ 0 h 2103227"/>
                <a:gd name="connsiteX1" fmla="*/ 772957 w 2062690"/>
                <a:gd name="connsiteY1" fmla="*/ 92987 h 2103227"/>
                <a:gd name="connsiteX2" fmla="*/ 1958263 w 2062690"/>
                <a:gd name="connsiteY2" fmla="*/ 977378 h 2103227"/>
                <a:gd name="connsiteX3" fmla="*/ 2062690 w 2062690"/>
                <a:gd name="connsiteY3" fmla="*/ 1117026 h 2103227"/>
                <a:gd name="connsiteX4" fmla="*/ 1491274 w 2062690"/>
                <a:gd name="connsiteY4" fmla="*/ 1532232 h 2103227"/>
                <a:gd name="connsiteX5" fmla="*/ 1491274 w 2062690"/>
                <a:gd name="connsiteY5" fmla="*/ 1891462 h 2103227"/>
                <a:gd name="connsiteX6" fmla="*/ 996893 w 2062690"/>
                <a:gd name="connsiteY6" fmla="*/ 1891462 h 2103227"/>
                <a:gd name="connsiteX7" fmla="*/ 705457 w 2062690"/>
                <a:gd name="connsiteY7" fmla="*/ 2103227 h 2103227"/>
                <a:gd name="connsiteX8" fmla="*/ 662376 w 2062690"/>
                <a:gd name="connsiteY8" fmla="*/ 2045616 h 2103227"/>
                <a:gd name="connsiteX9" fmla="*/ 119269 w 2062690"/>
                <a:gd name="connsiteY9" fmla="*/ 1640388 h 2103227"/>
                <a:gd name="connsiteX10" fmla="*/ 0 w 2062690"/>
                <a:gd name="connsiteY10" fmla="*/ 1596735 h 2103227"/>
                <a:gd name="connsiteX11" fmla="*/ 195695 w 2062690"/>
                <a:gd name="connsiteY11" fmla="*/ 401908 h 2103227"/>
                <a:gd name="connsiteX12" fmla="*/ 518894 w 2062690"/>
                <a:gd name="connsiteY12" fmla="*/ 0 h 2103227"/>
                <a:gd name="connsiteX0" fmla="*/ 518894 w 2062690"/>
                <a:gd name="connsiteY0" fmla="*/ 0 h 2103227"/>
                <a:gd name="connsiteX1" fmla="*/ 772957 w 2062690"/>
                <a:gd name="connsiteY1" fmla="*/ 92987 h 2103227"/>
                <a:gd name="connsiteX2" fmla="*/ 1958263 w 2062690"/>
                <a:gd name="connsiteY2" fmla="*/ 977378 h 2103227"/>
                <a:gd name="connsiteX3" fmla="*/ 2062690 w 2062690"/>
                <a:gd name="connsiteY3" fmla="*/ 1117026 h 2103227"/>
                <a:gd name="connsiteX4" fmla="*/ 1491274 w 2062690"/>
                <a:gd name="connsiteY4" fmla="*/ 1532232 h 2103227"/>
                <a:gd name="connsiteX5" fmla="*/ 1491274 w 2062690"/>
                <a:gd name="connsiteY5" fmla="*/ 1891462 h 2103227"/>
                <a:gd name="connsiteX6" fmla="*/ 705457 w 2062690"/>
                <a:gd name="connsiteY6" fmla="*/ 2103227 h 2103227"/>
                <a:gd name="connsiteX7" fmla="*/ 662376 w 2062690"/>
                <a:gd name="connsiteY7" fmla="*/ 2045616 h 2103227"/>
                <a:gd name="connsiteX8" fmla="*/ 119269 w 2062690"/>
                <a:gd name="connsiteY8" fmla="*/ 1640388 h 2103227"/>
                <a:gd name="connsiteX9" fmla="*/ 0 w 2062690"/>
                <a:gd name="connsiteY9" fmla="*/ 1596735 h 2103227"/>
                <a:gd name="connsiteX10" fmla="*/ 195695 w 2062690"/>
                <a:gd name="connsiteY10" fmla="*/ 401908 h 2103227"/>
                <a:gd name="connsiteX11" fmla="*/ 518894 w 2062690"/>
                <a:gd name="connsiteY11" fmla="*/ 0 h 2103227"/>
                <a:gd name="connsiteX0" fmla="*/ 518894 w 2062690"/>
                <a:gd name="connsiteY0" fmla="*/ 0 h 2103227"/>
                <a:gd name="connsiteX1" fmla="*/ 772957 w 2062690"/>
                <a:gd name="connsiteY1" fmla="*/ 92987 h 2103227"/>
                <a:gd name="connsiteX2" fmla="*/ 1958263 w 2062690"/>
                <a:gd name="connsiteY2" fmla="*/ 977378 h 2103227"/>
                <a:gd name="connsiteX3" fmla="*/ 2062690 w 2062690"/>
                <a:gd name="connsiteY3" fmla="*/ 1117026 h 2103227"/>
                <a:gd name="connsiteX4" fmla="*/ 1491274 w 2062690"/>
                <a:gd name="connsiteY4" fmla="*/ 1891462 h 2103227"/>
                <a:gd name="connsiteX5" fmla="*/ 705457 w 2062690"/>
                <a:gd name="connsiteY5" fmla="*/ 2103227 h 2103227"/>
                <a:gd name="connsiteX6" fmla="*/ 662376 w 2062690"/>
                <a:gd name="connsiteY6" fmla="*/ 2045616 h 2103227"/>
                <a:gd name="connsiteX7" fmla="*/ 119269 w 2062690"/>
                <a:gd name="connsiteY7" fmla="*/ 1640388 h 2103227"/>
                <a:gd name="connsiteX8" fmla="*/ 0 w 2062690"/>
                <a:gd name="connsiteY8" fmla="*/ 1596735 h 2103227"/>
                <a:gd name="connsiteX9" fmla="*/ 195695 w 2062690"/>
                <a:gd name="connsiteY9" fmla="*/ 401908 h 2103227"/>
                <a:gd name="connsiteX10" fmla="*/ 518894 w 2062690"/>
                <a:gd name="connsiteY10" fmla="*/ 0 h 210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2690" h="2103227">
                  <a:moveTo>
                    <a:pt x="518894" y="0"/>
                  </a:moveTo>
                  <a:lnTo>
                    <a:pt x="772957" y="92987"/>
                  </a:lnTo>
                  <a:cubicBezTo>
                    <a:pt x="1236499" y="289049"/>
                    <a:pt x="1642421" y="594666"/>
                    <a:pt x="1958263" y="977378"/>
                  </a:cubicBezTo>
                  <a:lnTo>
                    <a:pt x="2062690" y="1117026"/>
                  </a:lnTo>
                  <a:lnTo>
                    <a:pt x="1491274" y="1891462"/>
                  </a:lnTo>
                  <a:lnTo>
                    <a:pt x="705457" y="2103227"/>
                  </a:lnTo>
                  <a:lnTo>
                    <a:pt x="662376" y="2045616"/>
                  </a:lnTo>
                  <a:cubicBezTo>
                    <a:pt x="517657" y="1870257"/>
                    <a:pt x="331664" y="1730224"/>
                    <a:pt x="119269" y="1640388"/>
                  </a:cubicBezTo>
                  <a:lnTo>
                    <a:pt x="0" y="1596735"/>
                  </a:lnTo>
                  <a:lnTo>
                    <a:pt x="195695" y="401908"/>
                  </a:lnTo>
                  <a:lnTo>
                    <a:pt x="518894" y="0"/>
                  </a:lnTo>
                  <a:close/>
                </a:path>
              </a:pathLst>
            </a:custGeom>
            <a:solidFill>
              <a:schemeClr val="accent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latin typeface="Open Sauce One" pitchFamily="2" charset="0"/>
              </a:endParaRPr>
            </a:p>
          </p:txBody>
        </p:sp>
        <p:sp>
          <p:nvSpPr>
            <p:cNvPr id="39" name="Freeform: Shape 4">
              <a:extLst>
                <a:ext uri="{FF2B5EF4-FFF2-40B4-BE49-F238E27FC236}">
                  <a16:creationId xmlns:a16="http://schemas.microsoft.com/office/drawing/2014/main" id="{8908DBEA-F86D-F96B-49D2-4351DD7AAFDA}"/>
                </a:ext>
              </a:extLst>
            </p:cNvPr>
            <p:cNvSpPr>
              <a:spLocks/>
            </p:cNvSpPr>
            <p:nvPr/>
          </p:nvSpPr>
          <p:spPr bwMode="auto">
            <a:xfrm>
              <a:off x="5143812" y="1998542"/>
              <a:ext cx="1904518" cy="1747294"/>
            </a:xfrm>
            <a:custGeom>
              <a:avLst/>
              <a:gdLst>
                <a:gd name="connsiteX0" fmla="*/ 952188 w 1904518"/>
                <a:gd name="connsiteY0" fmla="*/ 0 h 1747294"/>
                <a:gd name="connsiteX1" fmla="*/ 1873920 w 1904518"/>
                <a:gd name="connsiteY1" fmla="*/ 139353 h 1747294"/>
                <a:gd name="connsiteX2" fmla="*/ 1904518 w 1904518"/>
                <a:gd name="connsiteY2" fmla="*/ 150552 h 1747294"/>
                <a:gd name="connsiteX3" fmla="*/ 1385642 w 1904518"/>
                <a:gd name="connsiteY3" fmla="*/ 1747294 h 1747294"/>
                <a:gd name="connsiteX4" fmla="*/ 1374526 w 1904518"/>
                <a:gd name="connsiteY4" fmla="*/ 1743225 h 1747294"/>
                <a:gd name="connsiteX5" fmla="*/ 952188 w 1904518"/>
                <a:gd name="connsiteY5" fmla="*/ 1679374 h 1747294"/>
                <a:gd name="connsiteX6" fmla="*/ 529850 w 1904518"/>
                <a:gd name="connsiteY6" fmla="*/ 1743225 h 1747294"/>
                <a:gd name="connsiteX7" fmla="*/ 518753 w 1904518"/>
                <a:gd name="connsiteY7" fmla="*/ 1747287 h 1747294"/>
                <a:gd name="connsiteX8" fmla="*/ 0 w 1904518"/>
                <a:gd name="connsiteY8" fmla="*/ 150500 h 1747294"/>
                <a:gd name="connsiteX9" fmla="*/ 30456 w 1904518"/>
                <a:gd name="connsiteY9" fmla="*/ 139353 h 1747294"/>
                <a:gd name="connsiteX10" fmla="*/ 952188 w 1904518"/>
                <a:gd name="connsiteY10" fmla="*/ 0 h 174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04518" h="1747294">
                  <a:moveTo>
                    <a:pt x="952188" y="0"/>
                  </a:moveTo>
                  <a:cubicBezTo>
                    <a:pt x="1273164" y="0"/>
                    <a:pt x="1582746" y="48788"/>
                    <a:pt x="1873920" y="139353"/>
                  </a:cubicBezTo>
                  <a:lnTo>
                    <a:pt x="1904518" y="150552"/>
                  </a:lnTo>
                  <a:lnTo>
                    <a:pt x="1385642" y="1747294"/>
                  </a:lnTo>
                  <a:lnTo>
                    <a:pt x="1374526" y="1743225"/>
                  </a:lnTo>
                  <a:cubicBezTo>
                    <a:pt x="1241110" y="1701729"/>
                    <a:pt x="1099259" y="1679374"/>
                    <a:pt x="952188" y="1679374"/>
                  </a:cubicBezTo>
                  <a:cubicBezTo>
                    <a:pt x="805117" y="1679374"/>
                    <a:pt x="663267" y="1701729"/>
                    <a:pt x="529850" y="1743225"/>
                  </a:cubicBezTo>
                  <a:lnTo>
                    <a:pt x="518753" y="1747287"/>
                  </a:lnTo>
                  <a:lnTo>
                    <a:pt x="0" y="150500"/>
                  </a:lnTo>
                  <a:lnTo>
                    <a:pt x="30456" y="139353"/>
                  </a:lnTo>
                  <a:cubicBezTo>
                    <a:pt x="321631" y="48788"/>
                    <a:pt x="631212" y="0"/>
                    <a:pt x="952188" y="0"/>
                  </a:cubicBez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latin typeface="Open Sauce One" pitchFamily="2" charset="0"/>
              </a:endParaRPr>
            </a:p>
          </p:txBody>
        </p:sp>
        <p:sp>
          <p:nvSpPr>
            <p:cNvPr id="40" name="Freeform: Shape 5">
              <a:extLst>
                <a:ext uri="{FF2B5EF4-FFF2-40B4-BE49-F238E27FC236}">
                  <a16:creationId xmlns:a16="http://schemas.microsoft.com/office/drawing/2014/main" id="{14B5862D-ADF5-C78E-E6C6-230F97971994}"/>
                </a:ext>
              </a:extLst>
            </p:cNvPr>
            <p:cNvSpPr>
              <a:spLocks/>
            </p:cNvSpPr>
            <p:nvPr/>
          </p:nvSpPr>
          <p:spPr bwMode="auto">
            <a:xfrm>
              <a:off x="2996840" y="3266118"/>
              <a:ext cx="1960165" cy="1813883"/>
            </a:xfrm>
            <a:custGeom>
              <a:avLst/>
              <a:gdLst>
                <a:gd name="connsiteX0" fmla="*/ 602951 w 1960165"/>
                <a:gd name="connsiteY0" fmla="*/ 0 h 1813883"/>
                <a:gd name="connsiteX1" fmla="*/ 1960165 w 1960165"/>
                <a:gd name="connsiteY1" fmla="*/ 986226 h 1813883"/>
                <a:gd name="connsiteX2" fmla="*/ 1921471 w 1960165"/>
                <a:gd name="connsiteY2" fmla="*/ 1037971 h 1813883"/>
                <a:gd name="connsiteX3" fmla="*/ 1686248 w 1960165"/>
                <a:gd name="connsiteY3" fmla="*/ 1686832 h 1813883"/>
                <a:gd name="connsiteX4" fmla="*/ 1679832 w 1960165"/>
                <a:gd name="connsiteY4" fmla="*/ 1813883 h 1813883"/>
                <a:gd name="connsiteX5" fmla="*/ 0 w 1960165"/>
                <a:gd name="connsiteY5" fmla="*/ 1813883 h 1813883"/>
                <a:gd name="connsiteX6" fmla="*/ 3574 w 1960165"/>
                <a:gd name="connsiteY6" fmla="*/ 1672538 h 1813883"/>
                <a:gd name="connsiteX7" fmla="*/ 528907 w 1960165"/>
                <a:gd name="connsiteY7" fmla="*/ 99017 h 1813883"/>
                <a:gd name="connsiteX8" fmla="*/ 602951 w 1960165"/>
                <a:gd name="connsiteY8" fmla="*/ 0 h 181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165" h="1813883">
                  <a:moveTo>
                    <a:pt x="602951" y="0"/>
                  </a:moveTo>
                  <a:lnTo>
                    <a:pt x="1960165" y="986226"/>
                  </a:lnTo>
                  <a:lnTo>
                    <a:pt x="1921471" y="1037971"/>
                  </a:lnTo>
                  <a:cubicBezTo>
                    <a:pt x="1793857" y="1226865"/>
                    <a:pt x="1710491" y="1448110"/>
                    <a:pt x="1686248" y="1686832"/>
                  </a:cubicBezTo>
                  <a:lnTo>
                    <a:pt x="1679832" y="1813883"/>
                  </a:lnTo>
                  <a:lnTo>
                    <a:pt x="0" y="1813883"/>
                  </a:lnTo>
                  <a:lnTo>
                    <a:pt x="3574" y="1672538"/>
                  </a:lnTo>
                  <a:cubicBezTo>
                    <a:pt x="33032" y="1091402"/>
                    <a:pt x="222544" y="552494"/>
                    <a:pt x="528907" y="99017"/>
                  </a:cubicBezTo>
                  <a:lnTo>
                    <a:pt x="602951" y="0"/>
                  </a:lnTo>
                  <a:close/>
                </a:path>
              </a:pathLst>
            </a:custGeom>
            <a:solidFill>
              <a:schemeClr val="accent5">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latin typeface="Open Sauce One" pitchFamily="2" charset="0"/>
              </a:endParaRPr>
            </a:p>
          </p:txBody>
        </p:sp>
        <p:sp>
          <p:nvSpPr>
            <p:cNvPr id="41" name="Freeform: Shape 6">
              <a:extLst>
                <a:ext uri="{FF2B5EF4-FFF2-40B4-BE49-F238E27FC236}">
                  <a16:creationId xmlns:a16="http://schemas.microsoft.com/office/drawing/2014/main" id="{2D3216A7-61A5-231F-9DC5-B3F77AECD50C}"/>
                </a:ext>
              </a:extLst>
            </p:cNvPr>
            <p:cNvSpPr>
              <a:spLocks/>
            </p:cNvSpPr>
            <p:nvPr/>
          </p:nvSpPr>
          <p:spPr bwMode="auto">
            <a:xfrm>
              <a:off x="7235187" y="3266675"/>
              <a:ext cx="1959974" cy="1813326"/>
            </a:xfrm>
            <a:custGeom>
              <a:avLst/>
              <a:gdLst>
                <a:gd name="connsiteX0" fmla="*/ 1357440 w 1959974"/>
                <a:gd name="connsiteY0" fmla="*/ 0 h 1813326"/>
                <a:gd name="connsiteX1" fmla="*/ 1431067 w 1959974"/>
                <a:gd name="connsiteY1" fmla="*/ 98460 h 1813326"/>
                <a:gd name="connsiteX2" fmla="*/ 1956400 w 1959974"/>
                <a:gd name="connsiteY2" fmla="*/ 1671981 h 1813326"/>
                <a:gd name="connsiteX3" fmla="*/ 1959974 w 1959974"/>
                <a:gd name="connsiteY3" fmla="*/ 1813326 h 1813326"/>
                <a:gd name="connsiteX4" fmla="*/ 280142 w 1959974"/>
                <a:gd name="connsiteY4" fmla="*/ 1813326 h 1813326"/>
                <a:gd name="connsiteX5" fmla="*/ 273726 w 1959974"/>
                <a:gd name="connsiteY5" fmla="*/ 1686275 h 1813326"/>
                <a:gd name="connsiteX6" fmla="*/ 38503 w 1959974"/>
                <a:gd name="connsiteY6" fmla="*/ 1037414 h 1813326"/>
                <a:gd name="connsiteX7" fmla="*/ 0 w 1959974"/>
                <a:gd name="connsiteY7" fmla="*/ 985924 h 1813326"/>
                <a:gd name="connsiteX8" fmla="*/ 1357440 w 1959974"/>
                <a:gd name="connsiteY8" fmla="*/ 0 h 181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974" h="1813326">
                  <a:moveTo>
                    <a:pt x="1357440" y="0"/>
                  </a:moveTo>
                  <a:lnTo>
                    <a:pt x="1431067" y="98460"/>
                  </a:lnTo>
                  <a:cubicBezTo>
                    <a:pt x="1737430" y="551937"/>
                    <a:pt x="1926942" y="1090845"/>
                    <a:pt x="1956400" y="1671981"/>
                  </a:cubicBezTo>
                  <a:lnTo>
                    <a:pt x="1959974" y="1813326"/>
                  </a:lnTo>
                  <a:lnTo>
                    <a:pt x="280142" y="1813326"/>
                  </a:lnTo>
                  <a:lnTo>
                    <a:pt x="273726" y="1686275"/>
                  </a:lnTo>
                  <a:cubicBezTo>
                    <a:pt x="249483" y="1447553"/>
                    <a:pt x="166118" y="1226308"/>
                    <a:pt x="38503" y="1037414"/>
                  </a:cubicBezTo>
                  <a:lnTo>
                    <a:pt x="0" y="985924"/>
                  </a:lnTo>
                  <a:lnTo>
                    <a:pt x="135744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latin typeface="Open Sauce One" pitchFamily="2" charset="0"/>
              </a:endParaRPr>
            </a:p>
          </p:txBody>
        </p:sp>
        <p:sp>
          <p:nvSpPr>
            <p:cNvPr id="42" name="Freeform: Shape 7">
              <a:extLst>
                <a:ext uri="{FF2B5EF4-FFF2-40B4-BE49-F238E27FC236}">
                  <a16:creationId xmlns:a16="http://schemas.microsoft.com/office/drawing/2014/main" id="{CB2FF486-E6A5-9079-E6A5-D43B2F5F8FC7}"/>
                </a:ext>
              </a:extLst>
            </p:cNvPr>
            <p:cNvSpPr/>
            <p:nvPr/>
          </p:nvSpPr>
          <p:spPr>
            <a:xfrm>
              <a:off x="3265940" y="2955293"/>
              <a:ext cx="4249234" cy="2124617"/>
            </a:xfrm>
            <a:custGeom>
              <a:avLst/>
              <a:gdLst>
                <a:gd name="connsiteX0" fmla="*/ 2124617 w 4249234"/>
                <a:gd name="connsiteY0" fmla="*/ 0 h 2124617"/>
                <a:gd name="connsiteX1" fmla="*/ 4249234 w 4249234"/>
                <a:gd name="connsiteY1" fmla="*/ 2124617 h 2124617"/>
                <a:gd name="connsiteX2" fmla="*/ 0 w 4249234"/>
                <a:gd name="connsiteY2" fmla="*/ 2124617 h 2124617"/>
                <a:gd name="connsiteX3" fmla="*/ 2124617 w 4249234"/>
                <a:gd name="connsiteY3" fmla="*/ 0 h 2124617"/>
              </a:gdLst>
              <a:ahLst/>
              <a:cxnLst>
                <a:cxn ang="0">
                  <a:pos x="connsiteX0" y="connsiteY0"/>
                </a:cxn>
                <a:cxn ang="0">
                  <a:pos x="connsiteX1" y="connsiteY1"/>
                </a:cxn>
                <a:cxn ang="0">
                  <a:pos x="connsiteX2" y="connsiteY2"/>
                </a:cxn>
                <a:cxn ang="0">
                  <a:pos x="connsiteX3" y="connsiteY3"/>
                </a:cxn>
              </a:cxnLst>
              <a:rect l="l" t="t" r="r" b="b"/>
              <a:pathLst>
                <a:path w="4249234" h="2124617">
                  <a:moveTo>
                    <a:pt x="2124617" y="0"/>
                  </a:moveTo>
                  <a:cubicBezTo>
                    <a:pt x="3298011" y="0"/>
                    <a:pt x="4249234" y="951223"/>
                    <a:pt x="4249234" y="2124617"/>
                  </a:cubicBezTo>
                  <a:lnTo>
                    <a:pt x="0" y="2124617"/>
                  </a:lnTo>
                  <a:cubicBezTo>
                    <a:pt x="0" y="951223"/>
                    <a:pt x="951223" y="0"/>
                    <a:pt x="212461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atin typeface="Open Sauce One" pitchFamily="2" charset="0"/>
              </a:endParaRPr>
            </a:p>
          </p:txBody>
        </p:sp>
        <p:sp>
          <p:nvSpPr>
            <p:cNvPr id="43" name="TextBox 12">
              <a:extLst>
                <a:ext uri="{FF2B5EF4-FFF2-40B4-BE49-F238E27FC236}">
                  <a16:creationId xmlns:a16="http://schemas.microsoft.com/office/drawing/2014/main" id="{9958AE20-DE71-5943-CE6A-3F781B068848}"/>
                </a:ext>
              </a:extLst>
            </p:cNvPr>
            <p:cNvSpPr txBox="1"/>
            <p:nvPr/>
          </p:nvSpPr>
          <p:spPr>
            <a:xfrm>
              <a:off x="3705050" y="3368235"/>
              <a:ext cx="928289" cy="531636"/>
            </a:xfrm>
            <a:prstGeom prst="rect">
              <a:avLst/>
            </a:prstGeom>
            <a:noFill/>
          </p:spPr>
          <p:txBody>
            <a:bodyPr wrap="none" rtlCol="0">
              <a:spAutoFit/>
            </a:bodyPr>
            <a:lstStyle/>
            <a:p>
              <a:r>
                <a:rPr lang="en-US" sz="1000">
                  <a:solidFill>
                    <a:schemeClr val="bg1">
                      <a:lumMod val="50000"/>
                    </a:schemeClr>
                  </a:solidFill>
                  <a:latin typeface="Open Sauce One" pitchFamily="2" charset="0"/>
                </a:rPr>
                <a:t>500</a:t>
              </a:r>
            </a:p>
          </p:txBody>
        </p:sp>
        <p:sp>
          <p:nvSpPr>
            <p:cNvPr id="44" name="TextBox 14">
              <a:extLst>
                <a:ext uri="{FF2B5EF4-FFF2-40B4-BE49-F238E27FC236}">
                  <a16:creationId xmlns:a16="http://schemas.microsoft.com/office/drawing/2014/main" id="{F87008A2-BD31-0F72-17CE-94D911E8290A}"/>
                </a:ext>
              </a:extLst>
            </p:cNvPr>
            <p:cNvSpPr txBox="1"/>
            <p:nvPr/>
          </p:nvSpPr>
          <p:spPr>
            <a:xfrm>
              <a:off x="5920587" y="3411323"/>
              <a:ext cx="1097649" cy="528795"/>
            </a:xfrm>
            <a:prstGeom prst="rect">
              <a:avLst/>
            </a:prstGeom>
            <a:noFill/>
          </p:spPr>
          <p:txBody>
            <a:bodyPr wrap="none" rtlCol="0">
              <a:spAutoFit/>
            </a:bodyPr>
            <a:lstStyle/>
            <a:p>
              <a:r>
                <a:rPr lang="en-US" sz="1000">
                  <a:solidFill>
                    <a:schemeClr val="bg1">
                      <a:lumMod val="50000"/>
                    </a:schemeClr>
                  </a:solidFill>
                  <a:latin typeface="Open Sauce One" pitchFamily="2" charset="0"/>
                </a:rPr>
                <a:t>1500</a:t>
              </a:r>
            </a:p>
          </p:txBody>
        </p:sp>
        <p:sp>
          <p:nvSpPr>
            <p:cNvPr id="45" name="TextBox 15">
              <a:extLst>
                <a:ext uri="{FF2B5EF4-FFF2-40B4-BE49-F238E27FC236}">
                  <a16:creationId xmlns:a16="http://schemas.microsoft.com/office/drawing/2014/main" id="{686DD939-F263-4C3B-BEF8-A29DE34B639E}"/>
                </a:ext>
              </a:extLst>
            </p:cNvPr>
            <p:cNvSpPr txBox="1"/>
            <p:nvPr/>
          </p:nvSpPr>
          <p:spPr>
            <a:xfrm>
              <a:off x="6374638" y="4034955"/>
              <a:ext cx="1097649" cy="528794"/>
            </a:xfrm>
            <a:prstGeom prst="rect">
              <a:avLst/>
            </a:prstGeom>
            <a:noFill/>
          </p:spPr>
          <p:txBody>
            <a:bodyPr wrap="none" rtlCol="0">
              <a:spAutoFit/>
            </a:bodyPr>
            <a:lstStyle/>
            <a:p>
              <a:r>
                <a:rPr lang="en-US" sz="1000">
                  <a:solidFill>
                    <a:schemeClr val="bg1">
                      <a:lumMod val="50000"/>
                    </a:schemeClr>
                  </a:solidFill>
                  <a:latin typeface="Open Sauce One" pitchFamily="2" charset="0"/>
                </a:rPr>
                <a:t>2000</a:t>
              </a:r>
            </a:p>
          </p:txBody>
        </p:sp>
        <p:sp>
          <p:nvSpPr>
            <p:cNvPr id="46" name="TextBox 16">
              <a:extLst>
                <a:ext uri="{FF2B5EF4-FFF2-40B4-BE49-F238E27FC236}">
                  <a16:creationId xmlns:a16="http://schemas.microsoft.com/office/drawing/2014/main" id="{28D0C916-3903-1AF3-0157-3A321BE0644C}"/>
                </a:ext>
              </a:extLst>
            </p:cNvPr>
            <p:cNvSpPr txBox="1"/>
            <p:nvPr/>
          </p:nvSpPr>
          <p:spPr>
            <a:xfrm>
              <a:off x="6616080" y="4760151"/>
              <a:ext cx="1097649" cy="528794"/>
            </a:xfrm>
            <a:prstGeom prst="rect">
              <a:avLst/>
            </a:prstGeom>
            <a:noFill/>
          </p:spPr>
          <p:txBody>
            <a:bodyPr wrap="none" rtlCol="0">
              <a:spAutoFit/>
            </a:bodyPr>
            <a:lstStyle/>
            <a:p>
              <a:r>
                <a:rPr lang="en-US" sz="1000">
                  <a:solidFill>
                    <a:schemeClr val="bg1">
                      <a:lumMod val="50000"/>
                    </a:schemeClr>
                  </a:solidFill>
                  <a:latin typeface="Open Sauce One" pitchFamily="2" charset="0"/>
                </a:rPr>
                <a:t>2500</a:t>
              </a:r>
            </a:p>
          </p:txBody>
        </p:sp>
        <p:sp>
          <p:nvSpPr>
            <p:cNvPr id="47" name="TextBox 19">
              <a:extLst>
                <a:ext uri="{FF2B5EF4-FFF2-40B4-BE49-F238E27FC236}">
                  <a16:creationId xmlns:a16="http://schemas.microsoft.com/office/drawing/2014/main" id="{138DC360-A5A5-AEA6-9C70-9447D2E10704}"/>
                </a:ext>
              </a:extLst>
            </p:cNvPr>
            <p:cNvSpPr txBox="1"/>
            <p:nvPr/>
          </p:nvSpPr>
          <p:spPr>
            <a:xfrm>
              <a:off x="4851409" y="2929711"/>
              <a:ext cx="1097649" cy="528795"/>
            </a:xfrm>
            <a:prstGeom prst="rect">
              <a:avLst/>
            </a:prstGeom>
            <a:noFill/>
          </p:spPr>
          <p:txBody>
            <a:bodyPr wrap="none" rtlCol="0">
              <a:spAutoFit/>
            </a:bodyPr>
            <a:lstStyle/>
            <a:p>
              <a:r>
                <a:rPr lang="en-US" sz="1000">
                  <a:solidFill>
                    <a:schemeClr val="bg1">
                      <a:lumMod val="50000"/>
                    </a:schemeClr>
                  </a:solidFill>
                  <a:latin typeface="Open Sauce One" pitchFamily="2" charset="0"/>
                </a:rPr>
                <a:t>1000</a:t>
              </a:r>
            </a:p>
          </p:txBody>
        </p:sp>
      </p:grpSp>
      <p:pic>
        <p:nvPicPr>
          <p:cNvPr id="48" name="Ábra 47">
            <a:extLst>
              <a:ext uri="{FF2B5EF4-FFF2-40B4-BE49-F238E27FC236}">
                <a16:creationId xmlns:a16="http://schemas.microsoft.com/office/drawing/2014/main" id="{EB8E0533-A61A-48B1-E966-F088CA374C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112046">
            <a:off x="1818645" y="3604127"/>
            <a:ext cx="202910" cy="2203020"/>
          </a:xfrm>
          <a:prstGeom prst="rect">
            <a:avLst/>
          </a:prstGeom>
        </p:spPr>
      </p:pic>
      <p:sp>
        <p:nvSpPr>
          <p:cNvPr id="62" name="Lekerekített téglalap 61">
            <a:extLst>
              <a:ext uri="{FF2B5EF4-FFF2-40B4-BE49-F238E27FC236}">
                <a16:creationId xmlns:a16="http://schemas.microsoft.com/office/drawing/2014/main" id="{AC1F731B-87F9-623C-890B-97C970E1268F}"/>
              </a:ext>
            </a:extLst>
          </p:cNvPr>
          <p:cNvSpPr/>
          <p:nvPr/>
        </p:nvSpPr>
        <p:spPr>
          <a:xfrm>
            <a:off x="7757691" y="1932660"/>
            <a:ext cx="4052535" cy="4049040"/>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uce One" pitchFamily="2" charset="0"/>
              <a:ea typeface="+mn-ea"/>
              <a:cs typeface="+mn-cs"/>
            </a:endParaRPr>
          </a:p>
        </p:txBody>
      </p:sp>
      <p:graphicFrame>
        <p:nvGraphicFramePr>
          <p:cNvPr id="8" name="Diagram 7">
            <a:extLst>
              <a:ext uri="{FF2B5EF4-FFF2-40B4-BE49-F238E27FC236}">
                <a16:creationId xmlns:a16="http://schemas.microsoft.com/office/drawing/2014/main" id="{08CDDAB8-0061-B06D-E0AA-80F4D80FC73C}"/>
              </a:ext>
            </a:extLst>
          </p:cNvPr>
          <p:cNvGraphicFramePr/>
          <p:nvPr>
            <p:extLst>
              <p:ext uri="{D42A27DB-BD31-4B8C-83A1-F6EECF244321}">
                <p14:modId xmlns:p14="http://schemas.microsoft.com/office/powerpoint/2010/main" val="1714076562"/>
              </p:ext>
            </p:extLst>
          </p:nvPr>
        </p:nvGraphicFramePr>
        <p:xfrm>
          <a:off x="8154386" y="2788623"/>
          <a:ext cx="3259144" cy="3173332"/>
        </p:xfrm>
        <a:graphic>
          <a:graphicData uri="http://schemas.openxmlformats.org/drawingml/2006/chart">
            <c:chart xmlns:c="http://schemas.openxmlformats.org/drawingml/2006/chart" xmlns:r="http://schemas.openxmlformats.org/officeDocument/2006/relationships" r:id="rId8"/>
          </a:graphicData>
        </a:graphic>
      </p:graphicFrame>
      <p:sp>
        <p:nvSpPr>
          <p:cNvPr id="11" name="Tartalom helye 4">
            <a:extLst>
              <a:ext uri="{FF2B5EF4-FFF2-40B4-BE49-F238E27FC236}">
                <a16:creationId xmlns:a16="http://schemas.microsoft.com/office/drawing/2014/main" id="{BD471205-75C1-8A62-6A36-47077F195A3D}"/>
              </a:ext>
            </a:extLst>
          </p:cNvPr>
          <p:cNvSpPr txBox="1">
            <a:spLocks/>
          </p:cNvSpPr>
          <p:nvPr/>
        </p:nvSpPr>
        <p:spPr>
          <a:xfrm>
            <a:off x="4870084" y="2224841"/>
            <a:ext cx="2648832" cy="394723"/>
          </a:xfrm>
          <a:prstGeom prst="rect">
            <a:avLst/>
          </a:prstGeom>
        </p:spPr>
        <p:txBody>
          <a:bodyPr vert="horz" wrap="square" lIns="0" tIns="45720" rIns="91440" bIns="45720" rtlCol="0">
            <a:spAutoFit/>
          </a:bodyPr>
          <a:lstStyle>
            <a:lvl1pPr marL="0" indent="0" algn="l" defTabSz="914400" rtl="0" eaLnBrk="1" latinLnBrk="0" hangingPunct="1">
              <a:lnSpc>
                <a:spcPct val="120000"/>
              </a:lnSpc>
              <a:spcBef>
                <a:spcPts val="1000"/>
              </a:spcBef>
              <a:spcAft>
                <a:spcPts val="600"/>
              </a:spcAft>
              <a:buClr>
                <a:schemeClr val="accent4"/>
              </a:buClr>
              <a:buFont typeface="Arial" panose="020B0604020202020204" pitchFamily="34" charset="0"/>
              <a:buNone/>
              <a:defRPr sz="1600" kern="1200">
                <a:solidFill>
                  <a:schemeClr val="accent5"/>
                </a:solidFill>
                <a:latin typeface="Open Sauce One" pitchFamily="2" charset="0"/>
                <a:ea typeface="+mn-ea"/>
                <a:cs typeface="+mn-cs"/>
              </a:defRPr>
            </a:lvl1pPr>
            <a:lvl2pPr marL="6858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600"/>
              </a:spcAft>
              <a:buClr>
                <a:srgbClr val="FF0050"/>
              </a:buClr>
              <a:buSzTx/>
              <a:buFont typeface="Arial" panose="020B0604020202020204" pitchFamily="34" charset="0"/>
              <a:buNone/>
              <a:tabLst/>
              <a:defRPr/>
            </a:pPr>
            <a:r>
              <a:rPr kumimoji="0" lang="en-US" sz="1800" b="1" i="0" u="none" strike="noStrike" kern="1200" cap="none" spc="0" normalizeH="0" baseline="0" noProof="0">
                <a:ln>
                  <a:noFill/>
                </a:ln>
                <a:solidFill>
                  <a:schemeClr val="tx1"/>
                </a:solidFill>
                <a:effectLst/>
                <a:uLnTx/>
                <a:uFillTx/>
                <a:latin typeface="Open Sauce One" pitchFamily="2" charset="0"/>
                <a:ea typeface="+mn-ea"/>
                <a:cs typeface="+mn-cs"/>
              </a:rPr>
              <a:t>Chart name</a:t>
            </a:r>
          </a:p>
        </p:txBody>
      </p:sp>
      <p:sp>
        <p:nvSpPr>
          <p:cNvPr id="13" name="Tartalom helye 4">
            <a:extLst>
              <a:ext uri="{FF2B5EF4-FFF2-40B4-BE49-F238E27FC236}">
                <a16:creationId xmlns:a16="http://schemas.microsoft.com/office/drawing/2014/main" id="{4481A985-B0F7-0C10-A143-C2BD6BC161CB}"/>
              </a:ext>
            </a:extLst>
          </p:cNvPr>
          <p:cNvSpPr txBox="1">
            <a:spLocks/>
          </p:cNvSpPr>
          <p:nvPr/>
        </p:nvSpPr>
        <p:spPr>
          <a:xfrm>
            <a:off x="8095422" y="2224841"/>
            <a:ext cx="2648832" cy="394723"/>
          </a:xfrm>
          <a:prstGeom prst="rect">
            <a:avLst/>
          </a:prstGeom>
        </p:spPr>
        <p:txBody>
          <a:bodyPr vert="horz" wrap="square" lIns="0" tIns="45720" rIns="91440" bIns="45720" rtlCol="0">
            <a:spAutoFit/>
          </a:bodyPr>
          <a:lstStyle>
            <a:lvl1pPr marL="0" indent="0" algn="l" defTabSz="914400" rtl="0" eaLnBrk="1" latinLnBrk="0" hangingPunct="1">
              <a:lnSpc>
                <a:spcPct val="120000"/>
              </a:lnSpc>
              <a:spcBef>
                <a:spcPts val="1000"/>
              </a:spcBef>
              <a:spcAft>
                <a:spcPts val="600"/>
              </a:spcAft>
              <a:buClr>
                <a:schemeClr val="accent4"/>
              </a:buClr>
              <a:buFont typeface="Arial" panose="020B0604020202020204" pitchFamily="34" charset="0"/>
              <a:buNone/>
              <a:defRPr sz="1600" kern="1200">
                <a:solidFill>
                  <a:schemeClr val="accent5"/>
                </a:solidFill>
                <a:latin typeface="Open Sauce One" pitchFamily="2" charset="0"/>
                <a:ea typeface="+mn-ea"/>
                <a:cs typeface="+mn-cs"/>
              </a:defRPr>
            </a:lvl1pPr>
            <a:lvl2pPr marL="6858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2pPr>
            <a:lvl3pPr marL="11430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3pPr>
            <a:lvl4pPr marL="16002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4pPr>
            <a:lvl5pPr marL="2057400" indent="-228600" algn="l" defTabSz="914400" rtl="0" eaLnBrk="1" latinLnBrk="0" hangingPunct="1">
              <a:lnSpc>
                <a:spcPct val="120000"/>
              </a:lnSpc>
              <a:spcBef>
                <a:spcPts val="500"/>
              </a:spcBef>
              <a:spcAft>
                <a:spcPts val="600"/>
              </a:spcAft>
              <a:buClr>
                <a:schemeClr val="accent4"/>
              </a:buClr>
              <a:buFont typeface="Arial" panose="020B0604020202020204" pitchFamily="34" charset="0"/>
              <a:buChar char="•"/>
              <a:defRPr sz="1600" kern="1200">
                <a:solidFill>
                  <a:schemeClr val="bg1">
                    <a:lumMod val="50000"/>
                  </a:schemeClr>
                </a:solidFill>
                <a:latin typeface="Open Sauce On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600"/>
              </a:spcAft>
              <a:buClr>
                <a:srgbClr val="FF0050"/>
              </a:buClr>
              <a:buSzTx/>
              <a:buFont typeface="Arial" panose="020B0604020202020204" pitchFamily="34" charset="0"/>
              <a:buNone/>
              <a:tabLst/>
              <a:defRPr/>
            </a:pPr>
            <a:r>
              <a:rPr kumimoji="0" lang="en-US" sz="1800" b="1" i="0" u="none" strike="noStrike" kern="1200" cap="none" spc="0" normalizeH="0" baseline="0" noProof="0">
                <a:ln>
                  <a:noFill/>
                </a:ln>
                <a:solidFill>
                  <a:schemeClr val="tx1"/>
                </a:solidFill>
                <a:effectLst/>
                <a:uLnTx/>
                <a:uFillTx/>
                <a:latin typeface="Open Sauce One" pitchFamily="2" charset="0"/>
                <a:ea typeface="+mn-ea"/>
                <a:cs typeface="+mn-cs"/>
              </a:rPr>
              <a:t>Chart name</a:t>
            </a:r>
          </a:p>
        </p:txBody>
      </p:sp>
    </p:spTree>
    <p:extLst>
      <p:ext uri="{BB962C8B-B14F-4D97-AF65-F5344CB8AC3E}">
        <p14:creationId xmlns:p14="http://schemas.microsoft.com/office/powerpoint/2010/main" val="7609516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92E59E-8363-A709-249C-5F36DAA0DC0F}"/>
              </a:ext>
            </a:extLst>
          </p:cNvPr>
          <p:cNvGraphicFramePr>
            <a:graphicFrameLocks noChangeAspect="1"/>
          </p:cNvGraphicFramePr>
          <p:nvPr>
            <p:custDataLst>
              <p:tags r:id="rId1"/>
            </p:custDataLst>
            <p:extLst>
              <p:ext uri="{D42A27DB-BD31-4B8C-83A1-F6EECF244321}">
                <p14:modId xmlns:p14="http://schemas.microsoft.com/office/powerpoint/2010/main" val="658017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7392E59E-8363-A709-249C-5F36DAA0DC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98FD1992-DD91-82E4-B0D8-5890E91D49A0}"/>
              </a:ext>
            </a:extLst>
          </p:cNvPr>
          <p:cNvSpPr>
            <a:spLocks noGrp="1"/>
          </p:cNvSpPr>
          <p:nvPr>
            <p:ph type="title"/>
          </p:nvPr>
        </p:nvSpPr>
        <p:spPr>
          <a:xfrm>
            <a:off x="407988" y="404813"/>
            <a:ext cx="11341100" cy="584775"/>
          </a:xfrm>
        </p:spPr>
        <p:txBody>
          <a:bodyPr vert="horz"/>
          <a:lstStyle/>
          <a:p>
            <a:r>
              <a:rPr lang="en-US"/>
              <a:t>Agenda</a:t>
            </a:r>
          </a:p>
        </p:txBody>
      </p:sp>
      <p:sp>
        <p:nvSpPr>
          <p:cNvPr id="4" name="Dia számának helye 3">
            <a:extLst>
              <a:ext uri="{FF2B5EF4-FFF2-40B4-BE49-F238E27FC236}">
                <a16:creationId xmlns:a16="http://schemas.microsoft.com/office/drawing/2014/main" id="{AFE8720D-AC6F-E516-5D61-AD1509AEE81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2D668-955E-AB45-9B4E-D4D3490B1261}" type="slidenum">
              <a:rPr kumimoji="0" lang="en-US" sz="1000" b="0" i="0" u="none" strike="noStrike" kern="1200" cap="none" spc="0" normalizeH="0" baseline="0" noProof="0" smtClean="0">
                <a:ln>
                  <a:noFill/>
                </a:ln>
                <a:solidFill>
                  <a:srgbClr val="FFFFFF">
                    <a:lumMod val="50000"/>
                  </a:srgbClr>
                </a:solidFill>
                <a:effectLst/>
                <a:uLnTx/>
                <a:uFillTx/>
                <a:latin typeface="Open Sauce On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srgbClr val="FFFFFF">
                  <a:lumMod val="50000"/>
                </a:srgbClr>
              </a:solidFill>
              <a:effectLst/>
              <a:uLnTx/>
              <a:uFillTx/>
              <a:latin typeface="Open Sauce One" pitchFamily="2" charset="0"/>
              <a:ea typeface="+mn-ea"/>
              <a:cs typeface="+mn-cs"/>
            </a:endParaRPr>
          </a:p>
        </p:txBody>
      </p:sp>
      <p:sp>
        <p:nvSpPr>
          <p:cNvPr id="11" name="Lekerekített téglalap 10">
            <a:extLst>
              <a:ext uri="{FF2B5EF4-FFF2-40B4-BE49-F238E27FC236}">
                <a16:creationId xmlns:a16="http://schemas.microsoft.com/office/drawing/2014/main" id="{76C920B7-BE94-0D30-8832-EF946C388FF8}"/>
              </a:ext>
            </a:extLst>
          </p:cNvPr>
          <p:cNvSpPr/>
          <p:nvPr/>
        </p:nvSpPr>
        <p:spPr>
          <a:xfrm>
            <a:off x="407986" y="1810583"/>
            <a:ext cx="9862683" cy="417080"/>
          </a:xfrm>
          <a:prstGeom prst="roundRect">
            <a:avLst>
              <a:gd name="adj" fmla="val 8975"/>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rgbClr val="030436"/>
                </a:solidFill>
                <a:latin typeface="Open Sauce One" pitchFamily="2" charset="0"/>
              </a:rPr>
              <a:t>Confirmation of Scope, Timeline &amp; Deliverables</a:t>
            </a:r>
          </a:p>
        </p:txBody>
      </p:sp>
      <p:sp>
        <p:nvSpPr>
          <p:cNvPr id="12" name="Lekerekített téglalap 11">
            <a:extLst>
              <a:ext uri="{FF2B5EF4-FFF2-40B4-BE49-F238E27FC236}">
                <a16:creationId xmlns:a16="http://schemas.microsoft.com/office/drawing/2014/main" id="{31A1A74D-3785-5589-AB3A-DD6034C72EF3}"/>
              </a:ext>
            </a:extLst>
          </p:cNvPr>
          <p:cNvSpPr/>
          <p:nvPr/>
        </p:nvSpPr>
        <p:spPr>
          <a:xfrm>
            <a:off x="407988" y="1274164"/>
            <a:ext cx="9862683" cy="417080"/>
          </a:xfrm>
          <a:prstGeom prst="roundRect">
            <a:avLst>
              <a:gd name="adj" fmla="val 11614"/>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rgbClr val="7197FF"/>
                </a:solidFill>
                <a:latin typeface="Open Sauce One" pitchFamily="2" charset="0"/>
              </a:rPr>
              <a:t>Hypatos Company and Product Overview</a:t>
            </a:r>
          </a:p>
        </p:txBody>
      </p:sp>
      <p:sp>
        <p:nvSpPr>
          <p:cNvPr id="17" name="Lekerekített téglalap 16">
            <a:extLst>
              <a:ext uri="{FF2B5EF4-FFF2-40B4-BE49-F238E27FC236}">
                <a16:creationId xmlns:a16="http://schemas.microsoft.com/office/drawing/2014/main" id="{EC20F76B-4421-69CF-B455-88358336714B}"/>
              </a:ext>
            </a:extLst>
          </p:cNvPr>
          <p:cNvSpPr/>
          <p:nvPr/>
        </p:nvSpPr>
        <p:spPr>
          <a:xfrm>
            <a:off x="407986" y="2352039"/>
            <a:ext cx="9862683" cy="417080"/>
          </a:xfrm>
          <a:prstGeom prst="roundRect">
            <a:avLst>
              <a:gd name="adj" fmla="val 8975"/>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197FF"/>
                </a:solidFill>
                <a:effectLst/>
                <a:uLnTx/>
                <a:uFillTx/>
                <a:latin typeface="Open Sauce One" pitchFamily="2" charset="0"/>
                <a:ea typeface="+mn-ea"/>
                <a:cs typeface="+mn-cs"/>
              </a:rPr>
              <a:t>Definition of success criteria</a:t>
            </a:r>
          </a:p>
        </p:txBody>
      </p:sp>
      <p:sp>
        <p:nvSpPr>
          <p:cNvPr id="3" name="Lekerekített téglalap 18">
            <a:extLst>
              <a:ext uri="{FF2B5EF4-FFF2-40B4-BE49-F238E27FC236}">
                <a16:creationId xmlns:a16="http://schemas.microsoft.com/office/drawing/2014/main" id="{2AABF0CE-E42E-C6CF-7C38-8E561B227806}"/>
              </a:ext>
            </a:extLst>
          </p:cNvPr>
          <p:cNvSpPr/>
          <p:nvPr/>
        </p:nvSpPr>
        <p:spPr>
          <a:xfrm>
            <a:off x="407986" y="2884820"/>
            <a:ext cx="9862683" cy="417080"/>
          </a:xfrm>
          <a:prstGeom prst="roundRect">
            <a:avLst>
              <a:gd name="adj" fmla="val 8975"/>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197FF"/>
                </a:solidFill>
                <a:effectLst/>
                <a:uLnTx/>
                <a:uFillTx/>
                <a:latin typeface="Open Sauce One" pitchFamily="2" charset="0"/>
                <a:ea typeface="+mn-ea"/>
                <a:cs typeface="+mn-cs"/>
              </a:rPr>
              <a:t>Risk Management</a:t>
            </a:r>
          </a:p>
        </p:txBody>
      </p:sp>
      <p:sp>
        <p:nvSpPr>
          <p:cNvPr id="5" name="Lekerekített téglalap 18">
            <a:extLst>
              <a:ext uri="{FF2B5EF4-FFF2-40B4-BE49-F238E27FC236}">
                <a16:creationId xmlns:a16="http://schemas.microsoft.com/office/drawing/2014/main" id="{815F1228-9EDD-BF9C-F081-B00152A1873E}"/>
              </a:ext>
            </a:extLst>
          </p:cNvPr>
          <p:cNvSpPr/>
          <p:nvPr/>
        </p:nvSpPr>
        <p:spPr>
          <a:xfrm>
            <a:off x="428714" y="3429245"/>
            <a:ext cx="9862683" cy="417080"/>
          </a:xfrm>
          <a:prstGeom prst="roundRect">
            <a:avLst>
              <a:gd name="adj" fmla="val 8975"/>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197FF"/>
                </a:solidFill>
                <a:effectLst/>
                <a:uLnTx/>
                <a:uFillTx/>
                <a:latin typeface="Open Sauce One" pitchFamily="2" charset="0"/>
                <a:ea typeface="+mn-ea"/>
                <a:cs typeface="+mn-cs"/>
              </a:rPr>
              <a:t>Data Exploration Analysis</a:t>
            </a:r>
          </a:p>
        </p:txBody>
      </p:sp>
      <p:sp>
        <p:nvSpPr>
          <p:cNvPr id="8" name="Lekerekített téglalap 18">
            <a:extLst>
              <a:ext uri="{FF2B5EF4-FFF2-40B4-BE49-F238E27FC236}">
                <a16:creationId xmlns:a16="http://schemas.microsoft.com/office/drawing/2014/main" id="{373AE6A9-4D32-B702-38E1-A5196AA0EE7E}"/>
              </a:ext>
            </a:extLst>
          </p:cNvPr>
          <p:cNvSpPr/>
          <p:nvPr/>
        </p:nvSpPr>
        <p:spPr>
          <a:xfrm>
            <a:off x="428714" y="3965860"/>
            <a:ext cx="9862683" cy="417080"/>
          </a:xfrm>
          <a:prstGeom prst="roundRect">
            <a:avLst>
              <a:gd name="adj" fmla="val 8975"/>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197FF"/>
                </a:solidFill>
                <a:effectLst/>
                <a:uLnTx/>
                <a:uFillTx/>
                <a:latin typeface="Open Sauce One" pitchFamily="2" charset="0"/>
                <a:ea typeface="+mn-ea"/>
                <a:cs typeface="+mn-cs"/>
              </a:rPr>
              <a:t>Hypatos Studio Demo</a:t>
            </a:r>
          </a:p>
        </p:txBody>
      </p:sp>
      <p:sp>
        <p:nvSpPr>
          <p:cNvPr id="9" name="Lekerekített téglalap 18">
            <a:extLst>
              <a:ext uri="{FF2B5EF4-FFF2-40B4-BE49-F238E27FC236}">
                <a16:creationId xmlns:a16="http://schemas.microsoft.com/office/drawing/2014/main" id="{3D869978-DE2D-21A8-BE35-6B24E8382686}"/>
              </a:ext>
            </a:extLst>
          </p:cNvPr>
          <p:cNvSpPr/>
          <p:nvPr/>
        </p:nvSpPr>
        <p:spPr>
          <a:xfrm>
            <a:off x="428714" y="4506937"/>
            <a:ext cx="9862683" cy="417080"/>
          </a:xfrm>
          <a:prstGeom prst="roundRect">
            <a:avLst>
              <a:gd name="adj" fmla="val 8975"/>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197FF"/>
                </a:solidFill>
                <a:effectLst/>
                <a:uLnTx/>
                <a:uFillTx/>
                <a:latin typeface="Open Sauce One" pitchFamily="2" charset="0"/>
                <a:ea typeface="+mn-ea"/>
                <a:cs typeface="+mn-cs"/>
              </a:rPr>
              <a:t>Q&amp;A and Next Steps</a:t>
            </a:r>
          </a:p>
        </p:txBody>
      </p:sp>
    </p:spTree>
    <p:extLst>
      <p:ext uri="{BB962C8B-B14F-4D97-AF65-F5344CB8AC3E}">
        <p14:creationId xmlns:p14="http://schemas.microsoft.com/office/powerpoint/2010/main" val="37979951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77B9DEAE-63DD-8649-4C0C-F877FB731A85}"/>
              </a:ext>
            </a:extLst>
          </p:cNvPr>
          <p:cNvGraphicFramePr>
            <a:graphicFrameLocks noChangeAspect="1"/>
          </p:cNvGraphicFramePr>
          <p:nvPr>
            <p:custDataLst>
              <p:tags r:id="rId1"/>
            </p:custDataLst>
            <p:extLst>
              <p:ext uri="{D42A27DB-BD31-4B8C-83A1-F6EECF244321}">
                <p14:modId xmlns:p14="http://schemas.microsoft.com/office/powerpoint/2010/main" val="3216279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4" name="think-cell data - do not delete" hidden="1">
                        <a:extLst>
                          <a:ext uri="{FF2B5EF4-FFF2-40B4-BE49-F238E27FC236}">
                            <a16:creationId xmlns:a16="http://schemas.microsoft.com/office/drawing/2014/main" id="{77B9DEAE-63DD-8649-4C0C-F877FB731A8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6CB49103-678C-976F-DF58-39C4BAFE7686}"/>
              </a:ext>
            </a:extLst>
          </p:cNvPr>
          <p:cNvSpPr>
            <a:spLocks noGrp="1"/>
          </p:cNvSpPr>
          <p:nvPr>
            <p:ph type="title"/>
          </p:nvPr>
        </p:nvSpPr>
        <p:spPr/>
        <p:txBody>
          <a:bodyPr/>
          <a:lstStyle/>
          <a:p>
            <a:endParaRPr lang="en-US"/>
          </a:p>
        </p:txBody>
      </p:sp>
      <p:sp>
        <p:nvSpPr>
          <p:cNvPr id="4" name="Dia számának helye 3">
            <a:extLst>
              <a:ext uri="{FF2B5EF4-FFF2-40B4-BE49-F238E27FC236}">
                <a16:creationId xmlns:a16="http://schemas.microsoft.com/office/drawing/2014/main" id="{554868BA-18D3-179D-ACCC-8C24732E1A20}"/>
              </a:ext>
            </a:extLst>
          </p:cNvPr>
          <p:cNvSpPr>
            <a:spLocks noGrp="1"/>
          </p:cNvSpPr>
          <p:nvPr>
            <p:ph type="sldNum" sz="quarter" idx="12"/>
          </p:nvPr>
        </p:nvSpPr>
        <p:spPr/>
        <p:txBody>
          <a:bodyPr/>
          <a:lstStyle/>
          <a:p>
            <a:fld id="{61F2D668-955E-AB45-9B4E-D4D3490B1261}" type="slidenum">
              <a:rPr lang="en-US" smtClean="0"/>
              <a:t>47</a:t>
            </a:fld>
            <a:endParaRPr lang="en-US"/>
          </a:p>
        </p:txBody>
      </p:sp>
      <p:cxnSp>
        <p:nvCxnSpPr>
          <p:cNvPr id="5" name="Egyenes összekötő 4">
            <a:extLst>
              <a:ext uri="{FF2B5EF4-FFF2-40B4-BE49-F238E27FC236}">
                <a16:creationId xmlns:a16="http://schemas.microsoft.com/office/drawing/2014/main" id="{315C6822-965D-E5E8-62B3-7E5CDD85CC7B}"/>
              </a:ext>
            </a:extLst>
          </p:cNvPr>
          <p:cNvCxnSpPr>
            <a:cxnSpLocks/>
          </p:cNvCxnSpPr>
          <p:nvPr/>
        </p:nvCxnSpPr>
        <p:spPr>
          <a:xfrm>
            <a:off x="407987" y="2025714"/>
            <a:ext cx="11240222" cy="0"/>
          </a:xfrm>
          <a:prstGeom prst="line">
            <a:avLst/>
          </a:prstGeom>
          <a:ln w="12700">
            <a:gradFill>
              <a:gsLst>
                <a:gs pos="0">
                  <a:schemeClr val="tx2"/>
                </a:gs>
                <a:gs pos="100000">
                  <a:schemeClr val="accent4"/>
                </a:gs>
              </a:gsLst>
              <a:lin ang="0" scaled="0"/>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Rechteck 190">
            <a:extLst>
              <a:ext uri="{FF2B5EF4-FFF2-40B4-BE49-F238E27FC236}">
                <a16:creationId xmlns:a16="http://schemas.microsoft.com/office/drawing/2014/main" id="{842B39BD-4B47-F80C-A3A6-B6F892AF4547}"/>
              </a:ext>
            </a:extLst>
          </p:cNvPr>
          <p:cNvSpPr/>
          <p:nvPr/>
        </p:nvSpPr>
        <p:spPr>
          <a:xfrm>
            <a:off x="894577" y="1229078"/>
            <a:ext cx="2269730" cy="307777"/>
          </a:xfrm>
          <a:prstGeom prst="rect">
            <a:avLst/>
          </a:prstGeom>
        </p:spPr>
        <p:txBody>
          <a:bodyPr vert="horz"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
                <a:srgbClr val="FE702E"/>
              </a:buClr>
              <a:buSzTx/>
              <a:buFontTx/>
              <a:buNone/>
              <a:tabLst/>
              <a:defRPr/>
            </a:pPr>
            <a:r>
              <a:rPr kumimoji="0" lang="de-DE" sz="1400" b="1" i="0" u="none" strike="noStrike" kern="1200" cap="none" normalizeH="0" noProof="0">
                <a:ln>
                  <a:noFill/>
                </a:ln>
                <a:solidFill>
                  <a:schemeClr val="accent1"/>
                </a:solidFill>
                <a:effectLst/>
                <a:uLnTx/>
                <a:uFillTx/>
                <a:latin typeface="Open Sauce One" pitchFamily="2" charset="0"/>
              </a:rPr>
              <a:t>Education &amp; Discovery </a:t>
            </a:r>
          </a:p>
        </p:txBody>
      </p:sp>
      <p:sp>
        <p:nvSpPr>
          <p:cNvPr id="7" name="Ellipszis 6">
            <a:extLst>
              <a:ext uri="{FF2B5EF4-FFF2-40B4-BE49-F238E27FC236}">
                <a16:creationId xmlns:a16="http://schemas.microsoft.com/office/drawing/2014/main" id="{12F32F3C-E093-7392-3D01-659AB802078F}"/>
              </a:ext>
            </a:extLst>
          </p:cNvPr>
          <p:cNvSpPr/>
          <p:nvPr/>
        </p:nvSpPr>
        <p:spPr>
          <a:xfrm>
            <a:off x="638381" y="1269519"/>
            <a:ext cx="248608" cy="248608"/>
          </a:xfrm>
          <a:prstGeom prst="ellipse">
            <a:avLst/>
          </a:prstGeom>
          <a:solidFill>
            <a:srgbClr val="F1ECFF"/>
          </a:solid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8" name="Ellipszis 7">
            <a:extLst>
              <a:ext uri="{FF2B5EF4-FFF2-40B4-BE49-F238E27FC236}">
                <a16:creationId xmlns:a16="http://schemas.microsoft.com/office/drawing/2014/main" id="{14A81B4E-912A-7EC0-757F-A23AF2A973F3}"/>
              </a:ext>
            </a:extLst>
          </p:cNvPr>
          <p:cNvSpPr/>
          <p:nvPr/>
        </p:nvSpPr>
        <p:spPr>
          <a:xfrm>
            <a:off x="3640482" y="1269519"/>
            <a:ext cx="248608" cy="248608"/>
          </a:xfrm>
          <a:prstGeom prst="ellipse">
            <a:avLst/>
          </a:prstGeom>
          <a:solidFill>
            <a:srgbClr val="FFEFBA"/>
          </a:solid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9" name="Ellipszis 8">
            <a:extLst>
              <a:ext uri="{FF2B5EF4-FFF2-40B4-BE49-F238E27FC236}">
                <a16:creationId xmlns:a16="http://schemas.microsoft.com/office/drawing/2014/main" id="{30665979-0A4D-D6A4-88A7-98D7ADE49A68}"/>
              </a:ext>
            </a:extLst>
          </p:cNvPr>
          <p:cNvSpPr/>
          <p:nvPr/>
        </p:nvSpPr>
        <p:spPr>
          <a:xfrm>
            <a:off x="6505537" y="1269519"/>
            <a:ext cx="248608" cy="248608"/>
          </a:xfrm>
          <a:prstGeom prst="ellipse">
            <a:avLst/>
          </a:prstGeom>
          <a:solidFill>
            <a:schemeClr val="accent5">
              <a:lumMod val="20000"/>
              <a:lumOff val="80000"/>
            </a:schemeClr>
          </a:solid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10" name="Ellipszis 9">
            <a:extLst>
              <a:ext uri="{FF2B5EF4-FFF2-40B4-BE49-F238E27FC236}">
                <a16:creationId xmlns:a16="http://schemas.microsoft.com/office/drawing/2014/main" id="{328EEE1A-D419-71D8-04BA-B31850C5F7CF}"/>
              </a:ext>
            </a:extLst>
          </p:cNvPr>
          <p:cNvSpPr/>
          <p:nvPr/>
        </p:nvSpPr>
        <p:spPr>
          <a:xfrm>
            <a:off x="9425930" y="1269519"/>
            <a:ext cx="248608" cy="248608"/>
          </a:xfrm>
          <a:prstGeom prst="ellipse">
            <a:avLst/>
          </a:prstGeom>
          <a:solidFill>
            <a:srgbClr val="C6F4E9"/>
          </a:solid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cxnSp>
        <p:nvCxnSpPr>
          <p:cNvPr id="11" name="Egyenes összekötő 10">
            <a:extLst>
              <a:ext uri="{FF2B5EF4-FFF2-40B4-BE49-F238E27FC236}">
                <a16:creationId xmlns:a16="http://schemas.microsoft.com/office/drawing/2014/main" id="{2C13EC76-55D0-CCD9-4256-D17BE27E9999}"/>
              </a:ext>
            </a:extLst>
          </p:cNvPr>
          <p:cNvCxnSpPr>
            <a:cxnSpLocks/>
            <a:stCxn id="7" idx="4"/>
          </p:cNvCxnSpPr>
          <p:nvPr/>
        </p:nvCxnSpPr>
        <p:spPr>
          <a:xfrm>
            <a:off x="762685" y="1518126"/>
            <a:ext cx="4590" cy="1113981"/>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2" name="Egyenes összekötő 11">
            <a:extLst>
              <a:ext uri="{FF2B5EF4-FFF2-40B4-BE49-F238E27FC236}">
                <a16:creationId xmlns:a16="http://schemas.microsoft.com/office/drawing/2014/main" id="{CF0DE015-E4C3-4E78-25F3-B6A38F4E7210}"/>
              </a:ext>
            </a:extLst>
          </p:cNvPr>
          <p:cNvCxnSpPr>
            <a:cxnSpLocks/>
          </p:cNvCxnSpPr>
          <p:nvPr/>
        </p:nvCxnSpPr>
        <p:spPr>
          <a:xfrm>
            <a:off x="3764786" y="1489685"/>
            <a:ext cx="4590" cy="1113981"/>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3" name="Egyenes összekötő 12">
            <a:extLst>
              <a:ext uri="{FF2B5EF4-FFF2-40B4-BE49-F238E27FC236}">
                <a16:creationId xmlns:a16="http://schemas.microsoft.com/office/drawing/2014/main" id="{CF6FF072-56F3-FAFA-D989-D94C9057D794}"/>
              </a:ext>
            </a:extLst>
          </p:cNvPr>
          <p:cNvCxnSpPr>
            <a:cxnSpLocks/>
            <a:stCxn id="9" idx="4"/>
          </p:cNvCxnSpPr>
          <p:nvPr/>
        </p:nvCxnSpPr>
        <p:spPr>
          <a:xfrm>
            <a:off x="6629841" y="1518126"/>
            <a:ext cx="4590" cy="1113981"/>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4" name="Egyenes összekötő 13">
            <a:extLst>
              <a:ext uri="{FF2B5EF4-FFF2-40B4-BE49-F238E27FC236}">
                <a16:creationId xmlns:a16="http://schemas.microsoft.com/office/drawing/2014/main" id="{6E324E30-54A5-B6C7-B51C-5ECC2D86A377}"/>
              </a:ext>
            </a:extLst>
          </p:cNvPr>
          <p:cNvCxnSpPr>
            <a:cxnSpLocks/>
            <a:stCxn id="10" idx="4"/>
          </p:cNvCxnSpPr>
          <p:nvPr/>
        </p:nvCxnSpPr>
        <p:spPr>
          <a:xfrm>
            <a:off x="9550234" y="1518126"/>
            <a:ext cx="4590" cy="1113981"/>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5" name="Textplatzhalter 2">
            <a:extLst>
              <a:ext uri="{FF2B5EF4-FFF2-40B4-BE49-F238E27FC236}">
                <a16:creationId xmlns:a16="http://schemas.microsoft.com/office/drawing/2014/main" id="{3A26E4A3-D678-10E2-82E8-7AEC8D984566}"/>
              </a:ext>
            </a:extLst>
          </p:cNvPr>
          <p:cNvSpPr>
            <a:spLocks noGrp="1"/>
          </p:cNvSpPr>
          <p:nvPr>
            <p:custDataLst>
              <p:tags r:id="rId2"/>
            </p:custDataLst>
          </p:nvPr>
        </p:nvSpPr>
        <p:spPr bwMode="gray">
          <a:xfrm>
            <a:off x="3946014" y="1618985"/>
            <a:ext cx="8651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chemeClr val="tx2"/>
                </a:solidFill>
                <a:effectLst/>
                <a:uLnTx/>
                <a:uFillTx/>
                <a:latin typeface="Open Sauce One" pitchFamily="2" charset="0"/>
              </a:rPr>
              <a:t>3-4Mo</a:t>
            </a:r>
            <a:endParaRPr kumimoji="0" lang="en-US" sz="1000" b="0" i="0" u="none" strike="noStrike" kern="1200" cap="none" spc="0" normalizeH="0" baseline="0" noProof="0">
              <a:ln>
                <a:noFill/>
              </a:ln>
              <a:solidFill>
                <a:schemeClr val="tx2"/>
              </a:solidFill>
              <a:effectLst/>
              <a:uLnTx/>
              <a:uFillTx/>
              <a:latin typeface="Open Sauce One" pitchFamily="2" charset="0"/>
              <a:sym typeface="Lato" panose="020F0502020204030203"/>
            </a:endParaRPr>
          </a:p>
        </p:txBody>
      </p:sp>
      <p:sp>
        <p:nvSpPr>
          <p:cNvPr id="16" name="Textplatzhalter 2">
            <a:extLst>
              <a:ext uri="{FF2B5EF4-FFF2-40B4-BE49-F238E27FC236}">
                <a16:creationId xmlns:a16="http://schemas.microsoft.com/office/drawing/2014/main" id="{3007D036-945C-B6BA-5FBF-A9B571C563F5}"/>
              </a:ext>
            </a:extLst>
          </p:cNvPr>
          <p:cNvSpPr>
            <a:spLocks noGrp="1"/>
          </p:cNvSpPr>
          <p:nvPr>
            <p:custDataLst>
              <p:tags r:id="rId3"/>
            </p:custDataLst>
          </p:nvPr>
        </p:nvSpPr>
        <p:spPr bwMode="gray">
          <a:xfrm>
            <a:off x="6780048" y="1563450"/>
            <a:ext cx="8651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chemeClr val="tx2"/>
                </a:solidFill>
                <a:effectLst/>
                <a:uLnTx/>
                <a:uFillTx/>
                <a:latin typeface="Open Sauce One" pitchFamily="2" charset="0"/>
              </a:rPr>
              <a:t>6-8W per wave</a:t>
            </a:r>
            <a:endParaRPr kumimoji="0" lang="en-US" sz="1000" b="0" i="0" u="none" strike="noStrike" kern="1200" cap="none" spc="0" normalizeH="0" baseline="0" noProof="0">
              <a:ln>
                <a:noFill/>
              </a:ln>
              <a:solidFill>
                <a:schemeClr val="tx2"/>
              </a:solidFill>
              <a:effectLst/>
              <a:uLnTx/>
              <a:uFillTx/>
              <a:latin typeface="Open Sauce One" pitchFamily="2" charset="0"/>
              <a:sym typeface="Lato" panose="020F0502020204030203"/>
            </a:endParaRPr>
          </a:p>
        </p:txBody>
      </p:sp>
      <p:sp>
        <p:nvSpPr>
          <p:cNvPr id="17" name="Textplatzhalter 2">
            <a:extLst>
              <a:ext uri="{FF2B5EF4-FFF2-40B4-BE49-F238E27FC236}">
                <a16:creationId xmlns:a16="http://schemas.microsoft.com/office/drawing/2014/main" id="{E5294197-8CE1-1A49-295A-F701A4DA949F}"/>
              </a:ext>
            </a:extLst>
          </p:cNvPr>
          <p:cNvSpPr>
            <a:spLocks noGrp="1"/>
          </p:cNvSpPr>
          <p:nvPr>
            <p:custDataLst>
              <p:tags r:id="rId4"/>
            </p:custDataLst>
          </p:nvPr>
        </p:nvSpPr>
        <p:spPr bwMode="gray">
          <a:xfrm>
            <a:off x="959309" y="1618985"/>
            <a:ext cx="8651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chemeClr val="tx2"/>
                </a:solidFill>
                <a:effectLst/>
                <a:uLnTx/>
                <a:uFillTx/>
                <a:latin typeface="Open Sauce One" pitchFamily="2" charset="0"/>
              </a:rPr>
              <a:t>1-2Mo</a:t>
            </a:r>
            <a:endParaRPr kumimoji="0" lang="en-US" sz="1000" b="0" i="0" u="none" strike="noStrike" kern="1200" cap="none" spc="0" normalizeH="0" baseline="0" noProof="0">
              <a:ln>
                <a:noFill/>
              </a:ln>
              <a:solidFill>
                <a:schemeClr val="tx2"/>
              </a:solidFill>
              <a:effectLst/>
              <a:uLnTx/>
              <a:uFillTx/>
              <a:latin typeface="Open Sauce One" pitchFamily="2" charset="0"/>
              <a:sym typeface="Lato" panose="020F0502020204030203"/>
            </a:endParaRPr>
          </a:p>
        </p:txBody>
      </p:sp>
      <p:pic>
        <p:nvPicPr>
          <p:cNvPr id="18" name="Ábra 17">
            <a:extLst>
              <a:ext uri="{FF2B5EF4-FFF2-40B4-BE49-F238E27FC236}">
                <a16:creationId xmlns:a16="http://schemas.microsoft.com/office/drawing/2014/main" id="{85F81B93-ADA4-D019-F096-5BDF06694E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06621" y="1739885"/>
            <a:ext cx="569732" cy="569732"/>
          </a:xfrm>
          <a:prstGeom prst="rect">
            <a:avLst/>
          </a:prstGeom>
        </p:spPr>
      </p:pic>
      <p:sp>
        <p:nvSpPr>
          <p:cNvPr id="19" name="Lekerekített téglalap 18">
            <a:extLst>
              <a:ext uri="{FF2B5EF4-FFF2-40B4-BE49-F238E27FC236}">
                <a16:creationId xmlns:a16="http://schemas.microsoft.com/office/drawing/2014/main" id="{C6BE6EA7-4590-A29D-C922-391FDE5F4E4D}"/>
              </a:ext>
            </a:extLst>
          </p:cNvPr>
          <p:cNvSpPr/>
          <p:nvPr/>
        </p:nvSpPr>
        <p:spPr>
          <a:xfrm>
            <a:off x="6258565" y="2395766"/>
            <a:ext cx="2573033" cy="3616705"/>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0" name="Lekerekített téglalap 19">
            <a:extLst>
              <a:ext uri="{FF2B5EF4-FFF2-40B4-BE49-F238E27FC236}">
                <a16:creationId xmlns:a16="http://schemas.microsoft.com/office/drawing/2014/main" id="{17FEA468-8A3F-BD18-DB27-9387852F9889}"/>
              </a:ext>
            </a:extLst>
          </p:cNvPr>
          <p:cNvSpPr/>
          <p:nvPr/>
        </p:nvSpPr>
        <p:spPr>
          <a:xfrm>
            <a:off x="3326173" y="2395766"/>
            <a:ext cx="2573033" cy="3616705"/>
          </a:xfrm>
          <a:prstGeom prst="roundRect">
            <a:avLst>
              <a:gd name="adj" fmla="val 7297"/>
            </a:avLst>
          </a:prstGeom>
          <a:solidFill>
            <a:schemeClr val="bg2"/>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1" name="Lekerekített téglalap 20">
            <a:extLst>
              <a:ext uri="{FF2B5EF4-FFF2-40B4-BE49-F238E27FC236}">
                <a16:creationId xmlns:a16="http://schemas.microsoft.com/office/drawing/2014/main" id="{8835D2BD-83DA-5C18-EBC6-40C792FD986B}"/>
              </a:ext>
            </a:extLst>
          </p:cNvPr>
          <p:cNvSpPr/>
          <p:nvPr/>
        </p:nvSpPr>
        <p:spPr>
          <a:xfrm>
            <a:off x="407988" y="2395766"/>
            <a:ext cx="2573033" cy="3616705"/>
          </a:xfrm>
          <a:prstGeom prst="roundRect">
            <a:avLst>
              <a:gd name="adj" fmla="val 7297"/>
            </a:avLst>
          </a:prstGeom>
          <a:solidFill>
            <a:schemeClr val="bg2"/>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2" name="Lekerekített téglalap 21">
            <a:extLst>
              <a:ext uri="{FF2B5EF4-FFF2-40B4-BE49-F238E27FC236}">
                <a16:creationId xmlns:a16="http://schemas.microsoft.com/office/drawing/2014/main" id="{53F83A4F-659B-C5E0-4FED-AB98D5EE0072}"/>
              </a:ext>
            </a:extLst>
          </p:cNvPr>
          <p:cNvSpPr/>
          <p:nvPr/>
        </p:nvSpPr>
        <p:spPr>
          <a:xfrm>
            <a:off x="9175464" y="2395766"/>
            <a:ext cx="2573033" cy="3616705"/>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3" name="Rechteck 190">
            <a:extLst>
              <a:ext uri="{FF2B5EF4-FFF2-40B4-BE49-F238E27FC236}">
                <a16:creationId xmlns:a16="http://schemas.microsoft.com/office/drawing/2014/main" id="{83D9380C-DE2A-8232-139B-E69578E5A070}"/>
              </a:ext>
            </a:extLst>
          </p:cNvPr>
          <p:cNvSpPr/>
          <p:nvPr/>
        </p:nvSpPr>
        <p:spPr>
          <a:xfrm>
            <a:off x="3877116" y="1229078"/>
            <a:ext cx="1488146" cy="307777"/>
          </a:xfrm>
          <a:prstGeom prst="rect">
            <a:avLst/>
          </a:prstGeom>
        </p:spPr>
        <p:txBody>
          <a:bodyPr vert="horz"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
                <a:srgbClr val="FE702E"/>
              </a:buClr>
              <a:buSzTx/>
              <a:buFontTx/>
              <a:buNone/>
              <a:tabLst/>
              <a:defRPr/>
            </a:pPr>
            <a:r>
              <a:rPr kumimoji="0" lang="de-DE" sz="1400" b="1" i="0" u="none" strike="noStrike" kern="1200" cap="none" normalizeH="0" noProof="0">
                <a:ln>
                  <a:noFill/>
                </a:ln>
                <a:solidFill>
                  <a:schemeClr val="accent1"/>
                </a:solidFill>
                <a:effectLst/>
                <a:uLnTx/>
                <a:uFillTx/>
                <a:latin typeface="Open Sauce One" pitchFamily="2" charset="0"/>
              </a:rPr>
              <a:t>Pilot</a:t>
            </a:r>
          </a:p>
        </p:txBody>
      </p:sp>
      <p:sp>
        <p:nvSpPr>
          <p:cNvPr id="24" name="Rechteck 190">
            <a:extLst>
              <a:ext uri="{FF2B5EF4-FFF2-40B4-BE49-F238E27FC236}">
                <a16:creationId xmlns:a16="http://schemas.microsoft.com/office/drawing/2014/main" id="{77638136-DD06-7EEC-287A-4A4E18D28245}"/>
              </a:ext>
            </a:extLst>
          </p:cNvPr>
          <p:cNvSpPr/>
          <p:nvPr/>
        </p:nvSpPr>
        <p:spPr>
          <a:xfrm>
            <a:off x="6730197" y="1229078"/>
            <a:ext cx="1488146" cy="307777"/>
          </a:xfrm>
          <a:prstGeom prst="rect">
            <a:avLst/>
          </a:prstGeom>
        </p:spPr>
        <p:txBody>
          <a:bodyPr vert="horz"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
                <a:srgbClr val="FE702E"/>
              </a:buClr>
              <a:buSzTx/>
              <a:buFontTx/>
              <a:buNone/>
              <a:tabLst/>
              <a:defRPr/>
            </a:pPr>
            <a:r>
              <a:rPr kumimoji="0" lang="de-DE" sz="1400" b="1" i="0" u="none" strike="noStrike" kern="1200" cap="none" normalizeH="0" noProof="0">
                <a:ln>
                  <a:noFill/>
                </a:ln>
                <a:solidFill>
                  <a:schemeClr val="accent1"/>
                </a:solidFill>
                <a:effectLst/>
                <a:uLnTx/>
                <a:uFillTx/>
                <a:latin typeface="Open Sauce One" pitchFamily="2" charset="0"/>
              </a:rPr>
              <a:t>Roll-out</a:t>
            </a:r>
          </a:p>
        </p:txBody>
      </p:sp>
      <p:sp>
        <p:nvSpPr>
          <p:cNvPr id="25" name="Rechteck 190">
            <a:extLst>
              <a:ext uri="{FF2B5EF4-FFF2-40B4-BE49-F238E27FC236}">
                <a16:creationId xmlns:a16="http://schemas.microsoft.com/office/drawing/2014/main" id="{111E4B0C-3ED8-AD45-E44C-E26FB945F64F}"/>
              </a:ext>
            </a:extLst>
          </p:cNvPr>
          <p:cNvSpPr/>
          <p:nvPr/>
        </p:nvSpPr>
        <p:spPr>
          <a:xfrm>
            <a:off x="9668878" y="1229078"/>
            <a:ext cx="1488146" cy="307777"/>
          </a:xfrm>
          <a:prstGeom prst="rect">
            <a:avLst/>
          </a:prstGeom>
        </p:spPr>
        <p:txBody>
          <a:bodyPr vert="horz"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
                <a:srgbClr val="FE702E"/>
              </a:buClr>
              <a:buSzTx/>
              <a:buFontTx/>
              <a:buNone/>
              <a:tabLst/>
              <a:defRPr/>
            </a:pPr>
            <a:r>
              <a:rPr kumimoji="0" lang="de-DE" sz="1400" b="1" i="0" u="none" strike="noStrike" kern="1200" cap="none" normalizeH="0" noProof="0">
                <a:ln>
                  <a:noFill/>
                </a:ln>
                <a:solidFill>
                  <a:schemeClr val="accent1"/>
                </a:solidFill>
                <a:effectLst/>
                <a:uLnTx/>
                <a:uFillTx/>
                <a:latin typeface="Open Sauce One" pitchFamily="2" charset="0"/>
              </a:rPr>
              <a:t>Expansion</a:t>
            </a:r>
          </a:p>
        </p:txBody>
      </p:sp>
      <p:graphicFrame>
        <p:nvGraphicFramePr>
          <p:cNvPr id="26" name="Táblázat 67">
            <a:extLst>
              <a:ext uri="{FF2B5EF4-FFF2-40B4-BE49-F238E27FC236}">
                <a16:creationId xmlns:a16="http://schemas.microsoft.com/office/drawing/2014/main" id="{2760A569-DC07-9D8C-B3C4-91CA8068B663}"/>
              </a:ext>
            </a:extLst>
          </p:cNvPr>
          <p:cNvGraphicFramePr>
            <a:graphicFrameLocks noGrp="1"/>
          </p:cNvGraphicFramePr>
          <p:nvPr>
            <p:extLst>
              <p:ext uri="{D42A27DB-BD31-4B8C-83A1-F6EECF244321}">
                <p14:modId xmlns:p14="http://schemas.microsoft.com/office/powerpoint/2010/main" val="3485403161"/>
              </p:ext>
            </p:extLst>
          </p:nvPr>
        </p:nvGraphicFramePr>
        <p:xfrm>
          <a:off x="3507564" y="2893954"/>
          <a:ext cx="2179251" cy="2934336"/>
        </p:xfrm>
        <a:graphic>
          <a:graphicData uri="http://schemas.openxmlformats.org/drawingml/2006/table">
            <a:tbl>
              <a:tblPr firstRow="1" bandRow="1">
                <a:tableStyleId>{F5AB1C69-6EDB-4FF4-983F-18BD219EF322}</a:tableStyleId>
              </a:tblPr>
              <a:tblGrid>
                <a:gridCol w="2179251">
                  <a:extLst>
                    <a:ext uri="{9D8B030D-6E8A-4147-A177-3AD203B41FA5}">
                      <a16:colId xmlns:a16="http://schemas.microsoft.com/office/drawing/2014/main" val="2425294522"/>
                    </a:ext>
                  </a:extLst>
                </a:gridCol>
              </a:tblGrid>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Open Sauce One"/>
                          <a:ea typeface="Lato Heavy" charset="0"/>
                          <a:cs typeface="Lato Heavy" charset="0"/>
                        </a:rPr>
                        <a:t>Pilot contracting and order for a Company Code or Region</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57686"/>
                  </a:ext>
                </a:extLst>
              </a:tr>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u="none" strike="noStrike" kern="1200" cap="none" spc="0" normalizeH="0" baseline="0" noProof="0">
                          <a:ln>
                            <a:noFill/>
                          </a:ln>
                          <a:solidFill>
                            <a:schemeClr val="bg1">
                              <a:lumMod val="50000"/>
                            </a:schemeClr>
                          </a:solidFill>
                          <a:effectLst/>
                          <a:uLnTx/>
                          <a:uFillTx/>
                          <a:latin typeface="Open Sauce One"/>
                        </a:rPr>
                        <a:t>Refinement of Solution Design and Integration design</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100763"/>
                  </a:ext>
                </a:extLst>
              </a:tr>
              <a:tr h="288000">
                <a:tc>
                  <a:txBody>
                    <a:bodyPr/>
                    <a:lstStyle/>
                    <a:p>
                      <a:pPr marL="0" marR="0" lvl="0" indent="0" algn="l" defTabSz="914400" rtl="0" eaLnBrk="1" fontAlgn="auto" latinLnBrk="0" hangingPunct="1">
                        <a:lnSpc>
                          <a:spcPct val="120000"/>
                        </a:lnSpc>
                        <a:spcBef>
                          <a:spcPts val="300"/>
                        </a:spcBef>
                        <a:spcAft>
                          <a:spcPts val="300"/>
                        </a:spcAft>
                        <a:buClr>
                          <a:schemeClr val="accent4"/>
                        </a:buClr>
                        <a:buSzTx/>
                        <a:buFont typeface="Arial" panose="020B0604020202020204" pitchFamily="34" charset="0"/>
                        <a:buNone/>
                        <a:defRPr/>
                      </a:pPr>
                      <a:r>
                        <a:rPr kumimoji="0" lang="en-US" sz="1000" b="0" u="none" strike="noStrike" kern="1200" cap="none" spc="0" normalizeH="0" baseline="0" noProof="0">
                          <a:ln>
                            <a:noFill/>
                          </a:ln>
                          <a:solidFill>
                            <a:schemeClr val="bg1">
                              <a:lumMod val="50000"/>
                            </a:schemeClr>
                          </a:solidFill>
                          <a:effectLst/>
                          <a:uLnTx/>
                          <a:uFillTx/>
                          <a:latin typeface="Open Sauce One"/>
                        </a:rPr>
                        <a:t>Integration and configuration</a:t>
                      </a:r>
                      <a:endParaRPr kumimoji="0" lang="en-US" sz="1000" b="0" i="0" u="none" strike="noStrike" kern="1200" cap="none" spc="0" normalizeH="0" baseline="0" noProof="0">
                        <a:ln>
                          <a:noFill/>
                        </a:ln>
                        <a:solidFill>
                          <a:schemeClr val="bg1">
                            <a:lumMod val="50000"/>
                          </a:schemeClr>
                        </a:solidFill>
                        <a:effectLst/>
                        <a:uLnTx/>
                        <a:uFillTx/>
                        <a:latin typeface="Open Sauce One"/>
                        <a:ea typeface="Lato Heavy" charset="0"/>
                        <a:cs typeface="Lato Heavy" charset="0"/>
                      </a:endParaRP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9463718"/>
                  </a:ext>
                </a:extLst>
              </a:tr>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lumMod val="50000"/>
                          </a:schemeClr>
                        </a:solidFill>
                        <a:effectLst/>
                        <a:uLnTx/>
                        <a:uFillTx/>
                        <a:latin typeface="Open Sauce One" pitchFamily="2" charset="0"/>
                        <a:ea typeface="Lato Heavy" charset="0"/>
                        <a:cs typeface="Lato Heavy" charset="0"/>
                      </a:endParaRP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5529365"/>
                  </a:ext>
                </a:extLst>
              </a:tr>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u="none" strike="noStrike" kern="1200" cap="none" spc="0" normalizeH="0" baseline="0" noProof="0">
                          <a:ln>
                            <a:noFill/>
                          </a:ln>
                          <a:solidFill>
                            <a:schemeClr val="bg1">
                              <a:lumMod val="50000"/>
                            </a:schemeClr>
                          </a:solidFill>
                          <a:effectLst/>
                          <a:uLnTx/>
                          <a:uFillTx/>
                          <a:latin typeface="Open Sauce One"/>
                        </a:rPr>
                        <a:t>Model training and set-up of learning pipeline</a:t>
                      </a:r>
                      <a:endParaRPr kumimoji="0" lang="en-US" sz="1000" b="0" i="0" u="none" strike="noStrike" kern="1200" cap="none" spc="0" normalizeH="0" baseline="0" noProof="0">
                        <a:ln>
                          <a:noFill/>
                        </a:ln>
                        <a:solidFill>
                          <a:schemeClr val="bg1">
                            <a:lumMod val="50000"/>
                          </a:schemeClr>
                        </a:solidFill>
                        <a:effectLst/>
                        <a:uLnTx/>
                        <a:uFillTx/>
                        <a:latin typeface="Open Sauce One"/>
                        <a:ea typeface="Lato Heavy" charset="0"/>
                        <a:cs typeface="Lato Heavy" charset="0"/>
                      </a:endParaRP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281676"/>
                  </a:ext>
                </a:extLst>
              </a:tr>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u="none" strike="noStrike" kern="1200" cap="none" spc="0" normalizeH="0" baseline="0" noProof="0">
                          <a:ln>
                            <a:noFill/>
                          </a:ln>
                          <a:solidFill>
                            <a:schemeClr val="bg1">
                              <a:lumMod val="50000"/>
                            </a:schemeClr>
                          </a:solidFill>
                          <a:effectLst/>
                          <a:uLnTx/>
                          <a:uFillTx/>
                          <a:latin typeface="Open Sauce One"/>
                        </a:rPr>
                        <a:t>Testing &amp; enablement</a:t>
                      </a:r>
                      <a:endParaRPr kumimoji="0" lang="en-US" sz="1000" b="0" i="0" u="none" strike="noStrike" kern="1200" cap="none" spc="0" normalizeH="0" baseline="0" noProof="0">
                        <a:ln>
                          <a:noFill/>
                        </a:ln>
                        <a:solidFill>
                          <a:schemeClr val="bg1">
                            <a:lumMod val="50000"/>
                          </a:schemeClr>
                        </a:solidFill>
                        <a:effectLst/>
                        <a:uLnTx/>
                        <a:uFillTx/>
                        <a:latin typeface="Open Sauce One"/>
                        <a:ea typeface="Lato Heavy" charset="0"/>
                        <a:cs typeface="Lato Heavy" charset="0"/>
                      </a:endParaRP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5622561"/>
                  </a:ext>
                </a:extLst>
              </a:tr>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Open Sauce One"/>
                          <a:ea typeface="Lato Heavy" charset="0"/>
                          <a:cs typeface="Lato Heavy" charset="0"/>
                        </a:rPr>
                        <a:t>Pilot contracting and order for a Company Code or Region</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545018"/>
                  </a:ext>
                </a:extLst>
              </a:tr>
            </a:tbl>
          </a:graphicData>
        </a:graphic>
      </p:graphicFrame>
      <p:graphicFrame>
        <p:nvGraphicFramePr>
          <p:cNvPr id="27" name="Táblázat 67">
            <a:extLst>
              <a:ext uri="{FF2B5EF4-FFF2-40B4-BE49-F238E27FC236}">
                <a16:creationId xmlns:a16="http://schemas.microsoft.com/office/drawing/2014/main" id="{5C73C19E-1958-4F0D-0FAE-E8EF316214FC}"/>
              </a:ext>
            </a:extLst>
          </p:cNvPr>
          <p:cNvGraphicFramePr>
            <a:graphicFrameLocks noGrp="1"/>
          </p:cNvGraphicFramePr>
          <p:nvPr>
            <p:extLst>
              <p:ext uri="{D42A27DB-BD31-4B8C-83A1-F6EECF244321}">
                <p14:modId xmlns:p14="http://schemas.microsoft.com/office/powerpoint/2010/main" val="2036550089"/>
              </p:ext>
            </p:extLst>
          </p:nvPr>
        </p:nvGraphicFramePr>
        <p:xfrm>
          <a:off x="601526" y="2893954"/>
          <a:ext cx="2179251" cy="944064"/>
        </p:xfrm>
        <a:graphic>
          <a:graphicData uri="http://schemas.openxmlformats.org/drawingml/2006/table">
            <a:tbl>
              <a:tblPr firstRow="1" bandRow="1">
                <a:tableStyleId>{F5AB1C69-6EDB-4FF4-983F-18BD219EF322}</a:tableStyleId>
              </a:tblPr>
              <a:tblGrid>
                <a:gridCol w="2179251">
                  <a:extLst>
                    <a:ext uri="{9D8B030D-6E8A-4147-A177-3AD203B41FA5}">
                      <a16:colId xmlns:a16="http://schemas.microsoft.com/office/drawing/2014/main" val="2425294522"/>
                    </a:ext>
                  </a:extLst>
                </a:gridCol>
              </a:tblGrid>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u="none" strike="noStrike" kern="1200" cap="none" spc="0" normalizeH="0" baseline="0" noProof="0">
                          <a:ln>
                            <a:noFill/>
                          </a:ln>
                          <a:solidFill>
                            <a:schemeClr val="bg1">
                              <a:lumMod val="50000"/>
                            </a:schemeClr>
                          </a:solidFill>
                          <a:effectLst/>
                          <a:uLnTx/>
                          <a:uFillTx/>
                          <a:latin typeface="Open Sauce One"/>
                        </a:rPr>
                        <a:t>Company introduction</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57686"/>
                  </a:ext>
                </a:extLst>
              </a:tr>
              <a:tr h="288000">
                <a:tc>
                  <a:txBody>
                    <a:bodyPr/>
                    <a:lstStyle/>
                    <a:p>
                      <a:pPr marL="0" marR="0" lvl="0" indent="0" algn="l" defTabSz="914400" rtl="0" eaLnBrk="1" fontAlgn="auto" latinLnBrk="0" hangingPunct="1">
                        <a:lnSpc>
                          <a:spcPct val="120000"/>
                        </a:lnSpc>
                        <a:spcBef>
                          <a:spcPts val="300"/>
                        </a:spcBef>
                        <a:spcAft>
                          <a:spcPts val="300"/>
                        </a:spcAft>
                        <a:buClr>
                          <a:schemeClr val="accent4"/>
                        </a:buClr>
                        <a:buSzTx/>
                        <a:buFont typeface="Arial" panose="020B0604020202020204" pitchFamily="34" charset="0"/>
                        <a:buNone/>
                        <a:defRPr/>
                      </a:pPr>
                      <a:r>
                        <a:rPr kumimoji="0" lang="en-US" sz="1000" b="0" u="none" strike="noStrike" kern="1200" cap="none" spc="0" normalizeH="0" baseline="0" noProof="0">
                          <a:ln>
                            <a:noFill/>
                          </a:ln>
                          <a:solidFill>
                            <a:schemeClr val="bg1">
                              <a:lumMod val="50000"/>
                            </a:schemeClr>
                          </a:solidFill>
                          <a:effectLst/>
                          <a:uLnTx/>
                          <a:uFillTx/>
                          <a:latin typeface="Open Sauce One"/>
                        </a:rPr>
                        <a:t>Custom Demo with Client Data</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100763"/>
                  </a:ext>
                </a:extLst>
              </a:tr>
              <a:tr h="288000">
                <a:tc>
                  <a:txBody>
                    <a:bodyPr/>
                    <a:lstStyle/>
                    <a:p>
                      <a:pPr marL="0" marR="0" lvl="0" indent="0" algn="l" defTabSz="914400" rtl="0" eaLnBrk="1" fontAlgn="auto" latinLnBrk="0" hangingPunct="1">
                        <a:lnSpc>
                          <a:spcPct val="120000"/>
                        </a:lnSpc>
                        <a:spcBef>
                          <a:spcPts val="300"/>
                        </a:spcBef>
                        <a:spcAft>
                          <a:spcPts val="300"/>
                        </a:spcAft>
                        <a:buClr>
                          <a:schemeClr val="accent4"/>
                        </a:buClr>
                        <a:buSzTx/>
                        <a:buFont typeface="Arial" panose="020B0604020202020204" pitchFamily="34" charset="0"/>
                        <a:buNone/>
                        <a:tabLst/>
                        <a:defRPr/>
                      </a:pPr>
                      <a:r>
                        <a:rPr kumimoji="0" lang="en-US" sz="1000" b="0" u="none" strike="noStrike" kern="1200" cap="none" spc="0" normalizeH="0" baseline="0" noProof="0">
                          <a:ln>
                            <a:noFill/>
                          </a:ln>
                          <a:solidFill>
                            <a:schemeClr val="bg1">
                              <a:lumMod val="50000"/>
                            </a:schemeClr>
                          </a:solidFill>
                          <a:effectLst/>
                          <a:uLnTx/>
                          <a:uFillTx/>
                          <a:latin typeface="Open Sauce One"/>
                        </a:rPr>
                        <a:t>Solution Design Workshop with Business</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9463718"/>
                  </a:ext>
                </a:extLst>
              </a:tr>
            </a:tbl>
          </a:graphicData>
        </a:graphic>
      </p:graphicFrame>
      <p:graphicFrame>
        <p:nvGraphicFramePr>
          <p:cNvPr id="28" name="Táblázat 67">
            <a:extLst>
              <a:ext uri="{FF2B5EF4-FFF2-40B4-BE49-F238E27FC236}">
                <a16:creationId xmlns:a16="http://schemas.microsoft.com/office/drawing/2014/main" id="{948DFD97-08A4-2970-45A1-8F5F312B6871}"/>
              </a:ext>
            </a:extLst>
          </p:cNvPr>
          <p:cNvGraphicFramePr>
            <a:graphicFrameLocks noGrp="1"/>
          </p:cNvGraphicFramePr>
          <p:nvPr>
            <p:extLst>
              <p:ext uri="{D42A27DB-BD31-4B8C-83A1-F6EECF244321}">
                <p14:modId xmlns:p14="http://schemas.microsoft.com/office/powerpoint/2010/main" val="1987917036"/>
              </p:ext>
            </p:extLst>
          </p:nvPr>
        </p:nvGraphicFramePr>
        <p:xfrm>
          <a:off x="6451180" y="2893954"/>
          <a:ext cx="2179251" cy="1258752"/>
        </p:xfrm>
        <a:graphic>
          <a:graphicData uri="http://schemas.openxmlformats.org/drawingml/2006/table">
            <a:tbl>
              <a:tblPr firstRow="1" bandRow="1">
                <a:tableStyleId>{F5AB1C69-6EDB-4FF4-983F-18BD219EF322}</a:tableStyleId>
              </a:tblPr>
              <a:tblGrid>
                <a:gridCol w="2179251">
                  <a:extLst>
                    <a:ext uri="{9D8B030D-6E8A-4147-A177-3AD203B41FA5}">
                      <a16:colId xmlns:a16="http://schemas.microsoft.com/office/drawing/2014/main" val="2425294522"/>
                    </a:ext>
                  </a:extLst>
                </a:gridCol>
              </a:tblGrid>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u="none" strike="noStrike" kern="1200" cap="none" spc="0" normalizeH="0" baseline="0" noProof="0">
                          <a:ln>
                            <a:noFill/>
                          </a:ln>
                          <a:solidFill>
                            <a:schemeClr val="bg1">
                              <a:lumMod val="50000"/>
                            </a:schemeClr>
                          </a:solidFill>
                          <a:effectLst/>
                          <a:uLnTx/>
                          <a:uFillTx/>
                          <a:latin typeface="Open Sauce One"/>
                        </a:rPr>
                        <a:t>Roll–out planning</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100763"/>
                  </a:ext>
                </a:extLst>
              </a:tr>
              <a:tr h="288000">
                <a:tc>
                  <a:txBody>
                    <a:bodyPr/>
                    <a:lstStyle/>
                    <a:p>
                      <a:pPr marL="0" marR="0" lvl="0" indent="0" algn="l" rtl="0" eaLnBrk="1" fontAlgn="auto" latinLnBrk="0" hangingPunct="1">
                        <a:lnSpc>
                          <a:spcPct val="120000"/>
                        </a:lnSpc>
                        <a:spcBef>
                          <a:spcPts val="0"/>
                        </a:spcBef>
                        <a:spcAft>
                          <a:spcPts val="0"/>
                        </a:spcAft>
                        <a:buClrTx/>
                        <a:buSzTx/>
                        <a:buFontTx/>
                        <a:buNone/>
                      </a:pPr>
                      <a:r>
                        <a:rPr kumimoji="0" lang="en-US" sz="1000" b="0" u="none" strike="noStrike" kern="1200" cap="none" spc="0" normalizeH="0" baseline="0" noProof="0">
                          <a:ln>
                            <a:noFill/>
                          </a:ln>
                          <a:solidFill>
                            <a:schemeClr val="bg1">
                              <a:lumMod val="50000"/>
                            </a:schemeClr>
                          </a:solidFill>
                          <a:effectLst/>
                          <a:uLnTx/>
                          <a:uFillTx/>
                          <a:latin typeface="Open Sauce One"/>
                        </a:rPr>
                        <a:t>Wave 1: Model training, testing, go live</a:t>
                      </a:r>
                      <a:r>
                        <a:rPr lang="en-US" sz="1000" b="0" u="none" strike="noStrike" kern="1200" cap="none" spc="0" normalizeH="0" baseline="0" noProof="0">
                          <a:ln>
                            <a:noFill/>
                          </a:ln>
                          <a:solidFill>
                            <a:schemeClr val="bg1">
                              <a:lumMod val="50000"/>
                            </a:schemeClr>
                          </a:solidFill>
                          <a:effectLst/>
                          <a:uLnTx/>
                          <a:uFillTx/>
                          <a:latin typeface="Open Sauce One"/>
                        </a:rPr>
                        <a:t>  </a:t>
                      </a:r>
                      <a:endParaRPr kumimoji="0" lang="en-US" sz="1000" b="0" u="none" strike="noStrike" kern="1200" cap="none" spc="0" normalizeH="0" baseline="0" noProof="0">
                        <a:ln>
                          <a:noFill/>
                        </a:ln>
                        <a:solidFill>
                          <a:schemeClr val="bg1">
                            <a:lumMod val="50000"/>
                          </a:schemeClr>
                        </a:solidFill>
                        <a:effectLst/>
                        <a:uLnTx/>
                        <a:uFillTx/>
                        <a:latin typeface="Open Sauce One" pitchFamily="2" charset="0"/>
                      </a:endParaRP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9463718"/>
                  </a:ext>
                </a:extLst>
              </a:tr>
              <a:tr h="288000">
                <a:tc>
                  <a:txBody>
                    <a:bodyPr/>
                    <a:lstStyle/>
                    <a:p>
                      <a:pPr marL="0" marR="0" lvl="0" indent="0" algn="l" rtl="0" eaLnBrk="1" fontAlgn="auto" latinLnBrk="0" hangingPunct="1">
                        <a:lnSpc>
                          <a:spcPct val="120000"/>
                        </a:lnSpc>
                        <a:spcBef>
                          <a:spcPts val="0"/>
                        </a:spcBef>
                        <a:spcAft>
                          <a:spcPts val="0"/>
                        </a:spcAft>
                        <a:buClrTx/>
                        <a:buSzTx/>
                        <a:buFontTx/>
                        <a:buNone/>
                      </a:pPr>
                      <a:r>
                        <a:rPr kumimoji="0" lang="en-US" sz="1000" b="0" u="none" strike="noStrike" kern="1200" cap="none" spc="0" normalizeH="0" baseline="0" noProof="0">
                          <a:ln>
                            <a:noFill/>
                          </a:ln>
                          <a:solidFill>
                            <a:schemeClr val="bg1">
                              <a:lumMod val="50000"/>
                            </a:schemeClr>
                          </a:solidFill>
                          <a:effectLst/>
                          <a:uLnTx/>
                          <a:uFillTx/>
                          <a:latin typeface="Open Sauce One"/>
                        </a:rPr>
                        <a:t>Wave 2: Model training, testing, go live</a:t>
                      </a:r>
                      <a:r>
                        <a:rPr lang="en-US" sz="1000" b="0" u="none" strike="noStrike" kern="1200" cap="none" spc="0" normalizeH="0" baseline="0" noProof="0">
                          <a:ln>
                            <a:noFill/>
                          </a:ln>
                          <a:solidFill>
                            <a:schemeClr val="bg1">
                              <a:lumMod val="50000"/>
                            </a:schemeClr>
                          </a:solidFill>
                          <a:effectLst/>
                          <a:uLnTx/>
                          <a:uFillTx/>
                          <a:latin typeface="Open Sauce One"/>
                        </a:rPr>
                        <a:t>  </a:t>
                      </a:r>
                      <a:endParaRPr kumimoji="0" lang="en-US" sz="1000" b="0" u="none" strike="noStrike" kern="1200" cap="none" spc="0" normalizeH="0" baseline="0" noProof="0">
                        <a:ln>
                          <a:noFill/>
                        </a:ln>
                        <a:solidFill>
                          <a:schemeClr val="bg1">
                            <a:lumMod val="50000"/>
                          </a:schemeClr>
                        </a:solidFill>
                        <a:effectLst/>
                        <a:uLnTx/>
                        <a:uFillTx/>
                        <a:latin typeface="Open Sauce One" pitchFamily="2" charset="0"/>
                      </a:endParaRP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5529365"/>
                  </a:ext>
                </a:extLst>
              </a:tr>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u="none" strike="noStrike" kern="1200" cap="none" spc="0" normalizeH="0" baseline="0" noProof="0">
                          <a:ln>
                            <a:noFill/>
                          </a:ln>
                          <a:solidFill>
                            <a:schemeClr val="bg1">
                              <a:lumMod val="50000"/>
                            </a:schemeClr>
                          </a:solidFill>
                          <a:effectLst/>
                          <a:uLnTx/>
                          <a:uFillTx/>
                          <a:latin typeface="Open Sauce One"/>
                        </a:rPr>
                        <a:t>Continuous improvement and QBRs</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5622561"/>
                  </a:ext>
                </a:extLst>
              </a:tr>
            </a:tbl>
          </a:graphicData>
        </a:graphic>
      </p:graphicFrame>
      <p:graphicFrame>
        <p:nvGraphicFramePr>
          <p:cNvPr id="29" name="Táblázat 67">
            <a:extLst>
              <a:ext uri="{FF2B5EF4-FFF2-40B4-BE49-F238E27FC236}">
                <a16:creationId xmlns:a16="http://schemas.microsoft.com/office/drawing/2014/main" id="{B6D0FFEF-296C-4FB3-733F-0F32C569BDA2}"/>
              </a:ext>
            </a:extLst>
          </p:cNvPr>
          <p:cNvGraphicFramePr>
            <a:graphicFrameLocks noGrp="1"/>
          </p:cNvGraphicFramePr>
          <p:nvPr>
            <p:extLst>
              <p:ext uri="{D42A27DB-BD31-4B8C-83A1-F6EECF244321}">
                <p14:modId xmlns:p14="http://schemas.microsoft.com/office/powerpoint/2010/main" val="3157579950"/>
              </p:ext>
            </p:extLst>
          </p:nvPr>
        </p:nvGraphicFramePr>
        <p:xfrm>
          <a:off x="9369744" y="2893954"/>
          <a:ext cx="2179251" cy="944064"/>
        </p:xfrm>
        <a:graphic>
          <a:graphicData uri="http://schemas.openxmlformats.org/drawingml/2006/table">
            <a:tbl>
              <a:tblPr firstRow="1" bandRow="1">
                <a:tableStyleId>{F5AB1C69-6EDB-4FF4-983F-18BD219EF322}</a:tableStyleId>
              </a:tblPr>
              <a:tblGrid>
                <a:gridCol w="2179251">
                  <a:extLst>
                    <a:ext uri="{9D8B030D-6E8A-4147-A177-3AD203B41FA5}">
                      <a16:colId xmlns:a16="http://schemas.microsoft.com/office/drawing/2014/main" val="2425294522"/>
                    </a:ext>
                  </a:extLst>
                </a:gridCol>
              </a:tblGrid>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u="none" strike="noStrike" kern="1200" cap="none" spc="0" normalizeH="0" baseline="0" noProof="0">
                          <a:ln>
                            <a:noFill/>
                          </a:ln>
                          <a:solidFill>
                            <a:schemeClr val="bg1">
                              <a:lumMod val="50000"/>
                            </a:schemeClr>
                          </a:solidFill>
                          <a:effectLst/>
                          <a:uLnTx/>
                          <a:uFillTx/>
                          <a:latin typeface="Open Sauce One"/>
                        </a:rPr>
                        <a:t>Identify additional use cases</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57686"/>
                  </a:ext>
                </a:extLst>
              </a:tr>
              <a:tr h="288000">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u="none" strike="noStrike" kern="1200" cap="none" spc="0" normalizeH="0" baseline="0" noProof="0">
                          <a:ln>
                            <a:noFill/>
                          </a:ln>
                          <a:solidFill>
                            <a:schemeClr val="bg1">
                              <a:lumMod val="50000"/>
                            </a:schemeClr>
                          </a:solidFill>
                          <a:effectLst/>
                          <a:uLnTx/>
                          <a:uFillTx/>
                          <a:latin typeface="Open Sauce One"/>
                        </a:rPr>
                        <a:t>Pilot</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100763"/>
                  </a:ext>
                </a:extLst>
              </a:tr>
              <a:tr h="288000">
                <a:tc>
                  <a:txBody>
                    <a:bodyPr/>
                    <a:lstStyle/>
                    <a:p>
                      <a:pPr marL="0" marR="0" lvl="0" indent="0" algn="l" defTabSz="914400" rtl="0" eaLnBrk="1" fontAlgn="auto" latinLnBrk="0" hangingPunct="1">
                        <a:lnSpc>
                          <a:spcPct val="120000"/>
                        </a:lnSpc>
                        <a:spcBef>
                          <a:spcPts val="300"/>
                        </a:spcBef>
                        <a:spcAft>
                          <a:spcPts val="300"/>
                        </a:spcAft>
                        <a:buClr>
                          <a:schemeClr val="accent4"/>
                        </a:buClr>
                        <a:buSzTx/>
                        <a:buFont typeface="Arial" panose="020B0604020202020204" pitchFamily="34" charset="0"/>
                        <a:buNone/>
                        <a:defRPr/>
                      </a:pPr>
                      <a:r>
                        <a:rPr kumimoji="0" lang="en-US" sz="1000" b="0" u="none" strike="noStrike" kern="1200" cap="none" spc="0" normalizeH="0" baseline="0" noProof="0">
                          <a:ln>
                            <a:noFill/>
                          </a:ln>
                          <a:solidFill>
                            <a:schemeClr val="bg1">
                              <a:lumMod val="50000"/>
                            </a:schemeClr>
                          </a:solidFill>
                          <a:effectLst/>
                          <a:uLnTx/>
                          <a:uFillTx/>
                          <a:latin typeface="Open Sauce One"/>
                        </a:rPr>
                        <a:t>Roll-0ut</a:t>
                      </a:r>
                    </a:p>
                  </a:txBody>
                  <a:tcPr marL="0" marR="0" marT="72000" marB="72000">
                    <a:lnL w="12700" cmpd="sng">
                      <a:noFill/>
                    </a:lnL>
                    <a:lnR w="12700" cmpd="sng">
                      <a:noFill/>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9463718"/>
                  </a:ext>
                </a:extLst>
              </a:tr>
            </a:tbl>
          </a:graphicData>
        </a:graphic>
      </p:graphicFrame>
      <p:pic>
        <p:nvPicPr>
          <p:cNvPr id="30" name="Ábra 29">
            <a:extLst>
              <a:ext uri="{FF2B5EF4-FFF2-40B4-BE49-F238E27FC236}">
                <a16:creationId xmlns:a16="http://schemas.microsoft.com/office/drawing/2014/main" id="{A36D2EAC-7850-5D38-3DAB-37584B0CED7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7564" y="2202558"/>
            <a:ext cx="571500" cy="571500"/>
          </a:xfrm>
          <a:prstGeom prst="rect">
            <a:avLst/>
          </a:prstGeom>
        </p:spPr>
      </p:pic>
      <p:pic>
        <p:nvPicPr>
          <p:cNvPr id="31" name="Ábra 30">
            <a:extLst>
              <a:ext uri="{FF2B5EF4-FFF2-40B4-BE49-F238E27FC236}">
                <a16:creationId xmlns:a16="http://schemas.microsoft.com/office/drawing/2014/main" id="{0E837FBF-3772-D046-B55C-CAF84A79A9A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9678" y="2202558"/>
            <a:ext cx="571500" cy="571500"/>
          </a:xfrm>
          <a:prstGeom prst="rect">
            <a:avLst/>
          </a:prstGeom>
        </p:spPr>
      </p:pic>
      <p:pic>
        <p:nvPicPr>
          <p:cNvPr id="32" name="Ábra 31">
            <a:extLst>
              <a:ext uri="{FF2B5EF4-FFF2-40B4-BE49-F238E27FC236}">
                <a16:creationId xmlns:a16="http://schemas.microsoft.com/office/drawing/2014/main" id="{93AADB03-2189-8407-C210-64290BE7769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99429" y="2149029"/>
            <a:ext cx="571500" cy="571500"/>
          </a:xfrm>
          <a:prstGeom prst="rect">
            <a:avLst/>
          </a:prstGeom>
        </p:spPr>
      </p:pic>
      <p:pic>
        <p:nvPicPr>
          <p:cNvPr id="33" name="Ábra 32">
            <a:extLst>
              <a:ext uri="{FF2B5EF4-FFF2-40B4-BE49-F238E27FC236}">
                <a16:creationId xmlns:a16="http://schemas.microsoft.com/office/drawing/2014/main" id="{D44DC634-1E7C-6BDE-D9A9-072A3F4E8CA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365847" y="2219112"/>
            <a:ext cx="571500" cy="571500"/>
          </a:xfrm>
          <a:prstGeom prst="rect">
            <a:avLst/>
          </a:prstGeom>
        </p:spPr>
      </p:pic>
    </p:spTree>
    <p:extLst>
      <p:ext uri="{BB962C8B-B14F-4D97-AF65-F5344CB8AC3E}">
        <p14:creationId xmlns:p14="http://schemas.microsoft.com/office/powerpoint/2010/main" val="12979591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E4ADC6FB-C398-8B76-3455-2197FFCD0F2B}"/>
              </a:ext>
            </a:extLst>
          </p:cNvPr>
          <p:cNvGraphicFramePr>
            <a:graphicFrameLocks noChangeAspect="1"/>
          </p:cNvGraphicFramePr>
          <p:nvPr>
            <p:custDataLst>
              <p:tags r:id="rId1"/>
            </p:custDataLst>
            <p:extLst>
              <p:ext uri="{D42A27DB-BD31-4B8C-83A1-F6EECF244321}">
                <p14:modId xmlns:p14="http://schemas.microsoft.com/office/powerpoint/2010/main" val="3378246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9" name="think-cell data - do not delete" hidden="1">
                        <a:extLst>
                          <a:ext uri="{FF2B5EF4-FFF2-40B4-BE49-F238E27FC236}">
                            <a16:creationId xmlns:a16="http://schemas.microsoft.com/office/drawing/2014/main" id="{E4ADC6FB-C398-8B76-3455-2197FFCD0F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1" name="Lekerekített téglalap 8">
            <a:extLst>
              <a:ext uri="{FF2B5EF4-FFF2-40B4-BE49-F238E27FC236}">
                <a16:creationId xmlns:a16="http://schemas.microsoft.com/office/drawing/2014/main" id="{79D3C1E5-FC5A-E6A2-F7F6-9155B34A06B0}"/>
              </a:ext>
            </a:extLst>
          </p:cNvPr>
          <p:cNvSpPr/>
          <p:nvPr/>
        </p:nvSpPr>
        <p:spPr>
          <a:xfrm>
            <a:off x="407988" y="1303291"/>
            <a:ext cx="11341098" cy="4445868"/>
          </a:xfrm>
          <a:prstGeom prst="roundRect">
            <a:avLst>
              <a:gd name="adj" fmla="val 13804"/>
            </a:avLst>
          </a:prstGeom>
          <a:solidFill>
            <a:schemeClr val="accent3"/>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D2B45532-4806-5CD7-BCDF-33EE7544CA7E}"/>
              </a:ext>
            </a:extLst>
          </p:cNvPr>
          <p:cNvSpPr>
            <a:spLocks noGrp="1"/>
          </p:cNvSpPr>
          <p:nvPr>
            <p:ph type="title"/>
          </p:nvPr>
        </p:nvSpPr>
        <p:spPr/>
        <p:txBody>
          <a:bodyPr vert="horz"/>
          <a:lstStyle/>
          <a:p>
            <a:r>
              <a:rPr lang="en-US"/>
              <a:t>Finance Autonomous Maturity Index</a:t>
            </a:r>
          </a:p>
        </p:txBody>
      </p:sp>
      <p:sp>
        <p:nvSpPr>
          <p:cNvPr id="4" name="Dia számának helye 3">
            <a:extLst>
              <a:ext uri="{FF2B5EF4-FFF2-40B4-BE49-F238E27FC236}">
                <a16:creationId xmlns:a16="http://schemas.microsoft.com/office/drawing/2014/main" id="{A055EF12-F52B-8B7C-5CF2-6A45AAC509B4}"/>
              </a:ext>
            </a:extLst>
          </p:cNvPr>
          <p:cNvSpPr>
            <a:spLocks noGrp="1"/>
          </p:cNvSpPr>
          <p:nvPr>
            <p:ph type="sldNum" sz="quarter" idx="12"/>
          </p:nvPr>
        </p:nvSpPr>
        <p:spPr/>
        <p:txBody>
          <a:bodyPr/>
          <a:lstStyle/>
          <a:p>
            <a:fld id="{61F2D668-955E-AB45-9B4E-D4D3490B1261}" type="slidenum">
              <a:rPr lang="en-US" smtClean="0"/>
              <a:t>48</a:t>
            </a:fld>
            <a:endParaRPr lang="en-US"/>
          </a:p>
        </p:txBody>
      </p:sp>
      <p:grpSp>
        <p:nvGrpSpPr>
          <p:cNvPr id="60" name="Group 59">
            <a:extLst>
              <a:ext uri="{FF2B5EF4-FFF2-40B4-BE49-F238E27FC236}">
                <a16:creationId xmlns:a16="http://schemas.microsoft.com/office/drawing/2014/main" id="{499FE12E-4F4D-6A78-09A6-EE0E75D31E3A}"/>
              </a:ext>
            </a:extLst>
          </p:cNvPr>
          <p:cNvGrpSpPr/>
          <p:nvPr/>
        </p:nvGrpSpPr>
        <p:grpSpPr>
          <a:xfrm>
            <a:off x="704192" y="3197766"/>
            <a:ext cx="10788943" cy="425749"/>
            <a:chOff x="704192" y="3807363"/>
            <a:chExt cx="10788943" cy="425749"/>
          </a:xfrm>
        </p:grpSpPr>
        <p:sp>
          <p:nvSpPr>
            <p:cNvPr id="37" name="Rounded Rectangle 36">
              <a:extLst>
                <a:ext uri="{FF2B5EF4-FFF2-40B4-BE49-F238E27FC236}">
                  <a16:creationId xmlns:a16="http://schemas.microsoft.com/office/drawing/2014/main" id="{88E11D63-A461-B41F-A50F-B23DF6A09116}"/>
                </a:ext>
              </a:extLst>
            </p:cNvPr>
            <p:cNvSpPr/>
            <p:nvPr/>
          </p:nvSpPr>
          <p:spPr>
            <a:xfrm>
              <a:off x="704192" y="3807363"/>
              <a:ext cx="1723697" cy="425749"/>
            </a:xfrm>
            <a:prstGeom prst="roundRect">
              <a:avLst/>
            </a:prstGeom>
            <a:solidFill>
              <a:srgbClr val="F0C7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lumMod val="50000"/>
                    </a:schemeClr>
                  </a:solidFill>
                </a:rPr>
                <a:t>ERP</a:t>
              </a:r>
              <a:endParaRPr lang="en-US">
                <a:solidFill>
                  <a:schemeClr val="bg1">
                    <a:lumMod val="50000"/>
                  </a:schemeClr>
                </a:solidFill>
              </a:endParaRPr>
            </a:p>
          </p:txBody>
        </p:sp>
        <p:sp>
          <p:nvSpPr>
            <p:cNvPr id="38" name="Rounded Rectangle 37">
              <a:extLst>
                <a:ext uri="{FF2B5EF4-FFF2-40B4-BE49-F238E27FC236}">
                  <a16:creationId xmlns:a16="http://schemas.microsoft.com/office/drawing/2014/main" id="{8793D0A2-851E-9096-4484-535B5E0B4EDB}"/>
                </a:ext>
              </a:extLst>
            </p:cNvPr>
            <p:cNvSpPr/>
            <p:nvPr/>
          </p:nvSpPr>
          <p:spPr>
            <a:xfrm>
              <a:off x="2516765" y="3807363"/>
              <a:ext cx="5348843" cy="425749"/>
            </a:xfrm>
            <a:prstGeom prst="roundRect">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lumMod val="50000"/>
                    </a:schemeClr>
                  </a:solidFill>
                </a:rPr>
                <a:t>OCR, EDI, XML, Supplier Portal, Template-based Invoice Processing, RPA, BI, Analytics, Predictive Intelligence</a:t>
              </a:r>
            </a:p>
          </p:txBody>
        </p:sp>
        <p:sp>
          <p:nvSpPr>
            <p:cNvPr id="42" name="Rounded Rectangle 41">
              <a:extLst>
                <a:ext uri="{FF2B5EF4-FFF2-40B4-BE49-F238E27FC236}">
                  <a16:creationId xmlns:a16="http://schemas.microsoft.com/office/drawing/2014/main" id="{CA884392-9DEB-60AC-9627-1A8F74F81361}"/>
                </a:ext>
              </a:extLst>
            </p:cNvPr>
            <p:cNvSpPr/>
            <p:nvPr/>
          </p:nvSpPr>
          <p:spPr>
            <a:xfrm>
              <a:off x="7954483" y="3807363"/>
              <a:ext cx="1723697" cy="425749"/>
            </a:xfrm>
            <a:prstGeom prst="roundRect">
              <a:avLst/>
            </a:prstGeom>
            <a:solidFill>
              <a:srgbClr val="C6F5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lumMod val="50000"/>
                    </a:schemeClr>
                  </a:solidFill>
                </a:rPr>
                <a:t>Artificial Intelligence</a:t>
              </a:r>
              <a:endParaRPr lang="en-US">
                <a:solidFill>
                  <a:schemeClr val="bg1">
                    <a:lumMod val="50000"/>
                  </a:schemeClr>
                </a:solidFill>
              </a:endParaRPr>
            </a:p>
          </p:txBody>
        </p:sp>
        <p:sp>
          <p:nvSpPr>
            <p:cNvPr id="44" name="Rounded Rectangle 43">
              <a:extLst>
                <a:ext uri="{FF2B5EF4-FFF2-40B4-BE49-F238E27FC236}">
                  <a16:creationId xmlns:a16="http://schemas.microsoft.com/office/drawing/2014/main" id="{5E0C3C62-D666-9C19-F34F-403B61312A61}"/>
                </a:ext>
              </a:extLst>
            </p:cNvPr>
            <p:cNvSpPr/>
            <p:nvPr/>
          </p:nvSpPr>
          <p:spPr>
            <a:xfrm>
              <a:off x="9769438" y="3807363"/>
              <a:ext cx="1723697" cy="425749"/>
            </a:xfrm>
            <a:prstGeom prst="roundRect">
              <a:avLst/>
            </a:prstGeom>
            <a:solidFill>
              <a:srgbClr val="C6F5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lumMod val="50000"/>
                    </a:schemeClr>
                  </a:solidFill>
                </a:rPr>
                <a:t>No existing technology currently</a:t>
              </a:r>
              <a:endParaRPr lang="en-US">
                <a:solidFill>
                  <a:schemeClr val="bg1">
                    <a:lumMod val="50000"/>
                  </a:schemeClr>
                </a:solidFill>
              </a:endParaRPr>
            </a:p>
          </p:txBody>
        </p:sp>
      </p:grpSp>
      <p:grpSp>
        <p:nvGrpSpPr>
          <p:cNvPr id="62" name="Group 61">
            <a:extLst>
              <a:ext uri="{FF2B5EF4-FFF2-40B4-BE49-F238E27FC236}">
                <a16:creationId xmlns:a16="http://schemas.microsoft.com/office/drawing/2014/main" id="{543E173A-EB07-904F-D429-EEDEA5ABF8FD}"/>
              </a:ext>
            </a:extLst>
          </p:cNvPr>
          <p:cNvGrpSpPr/>
          <p:nvPr/>
        </p:nvGrpSpPr>
        <p:grpSpPr>
          <a:xfrm>
            <a:off x="701247" y="3773358"/>
            <a:ext cx="10797706" cy="1084679"/>
            <a:chOff x="701247" y="4298874"/>
            <a:chExt cx="10797706" cy="1084679"/>
          </a:xfrm>
        </p:grpSpPr>
        <p:sp>
          <p:nvSpPr>
            <p:cNvPr id="36" name="Rounded Rectangle 35">
              <a:extLst>
                <a:ext uri="{FF2B5EF4-FFF2-40B4-BE49-F238E27FC236}">
                  <a16:creationId xmlns:a16="http://schemas.microsoft.com/office/drawing/2014/main" id="{D542ED15-4EFE-9108-F75F-95E8A3B63A7F}"/>
                </a:ext>
              </a:extLst>
            </p:cNvPr>
            <p:cNvSpPr/>
            <p:nvPr/>
          </p:nvSpPr>
          <p:spPr>
            <a:xfrm>
              <a:off x="701247" y="4298874"/>
              <a:ext cx="1731897" cy="1084679"/>
            </a:xfrm>
            <a:prstGeom prst="roundRect">
              <a:avLst/>
            </a:prstGeom>
            <a:noFill/>
            <a:ln>
              <a:solidFill>
                <a:srgbClr val="F0C7D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900">
                  <a:solidFill>
                    <a:schemeClr val="bg1">
                      <a:lumMod val="50000"/>
                    </a:schemeClr>
                  </a:solidFill>
                </a:rPr>
                <a:t>Zero autonomy – AP system operator performs all tasks.</a:t>
              </a:r>
            </a:p>
          </p:txBody>
        </p:sp>
        <p:sp>
          <p:nvSpPr>
            <p:cNvPr id="39" name="Rounded Rectangle 38">
              <a:extLst>
                <a:ext uri="{FF2B5EF4-FFF2-40B4-BE49-F238E27FC236}">
                  <a16:creationId xmlns:a16="http://schemas.microsoft.com/office/drawing/2014/main" id="{D1BA8166-4BCC-8027-FBD4-0A8DACDAF55B}"/>
                </a:ext>
              </a:extLst>
            </p:cNvPr>
            <p:cNvSpPr/>
            <p:nvPr/>
          </p:nvSpPr>
          <p:spPr>
            <a:xfrm>
              <a:off x="2508565" y="4298874"/>
              <a:ext cx="1731897" cy="1084679"/>
            </a:xfrm>
            <a:prstGeom prst="roundRect">
              <a:avLst/>
            </a:prstGeom>
            <a:noFill/>
            <a:ln>
              <a:solidFill>
                <a:srgbClr val="FDE7D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900">
                  <a:solidFill>
                    <a:schemeClr val="bg1">
                      <a:lumMod val="50000"/>
                    </a:schemeClr>
                  </a:solidFill>
                </a:rPr>
                <a:t>AP System controlled and operated by finance person but offers assist features.</a:t>
              </a:r>
            </a:p>
          </p:txBody>
        </p:sp>
        <p:sp>
          <p:nvSpPr>
            <p:cNvPr id="40" name="Rounded Rectangle 39">
              <a:extLst>
                <a:ext uri="{FF2B5EF4-FFF2-40B4-BE49-F238E27FC236}">
                  <a16:creationId xmlns:a16="http://schemas.microsoft.com/office/drawing/2014/main" id="{807E2D87-83BB-3377-B309-8D6122458432}"/>
                </a:ext>
              </a:extLst>
            </p:cNvPr>
            <p:cNvSpPr/>
            <p:nvPr/>
          </p:nvSpPr>
          <p:spPr>
            <a:xfrm>
              <a:off x="4324083" y="4298874"/>
              <a:ext cx="1731897" cy="1084679"/>
            </a:xfrm>
            <a:prstGeom prst="roundRect">
              <a:avLst/>
            </a:prstGeom>
            <a:noFill/>
            <a:ln>
              <a:solidFill>
                <a:srgbClr val="FDE7D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900">
                  <a:solidFill>
                    <a:schemeClr val="bg1">
                      <a:lumMod val="50000"/>
                    </a:schemeClr>
                  </a:solidFill>
                </a:rPr>
                <a:t>Automation available in parts of AP process from exchanging invoices to extracting invoice data but AP operator must always monitor transactions.</a:t>
              </a:r>
            </a:p>
          </p:txBody>
        </p:sp>
        <p:sp>
          <p:nvSpPr>
            <p:cNvPr id="41" name="Rounded Rectangle 40">
              <a:extLst>
                <a:ext uri="{FF2B5EF4-FFF2-40B4-BE49-F238E27FC236}">
                  <a16:creationId xmlns:a16="http://schemas.microsoft.com/office/drawing/2014/main" id="{45C6482E-22D5-46CB-1352-03DB2FBE10B3}"/>
                </a:ext>
              </a:extLst>
            </p:cNvPr>
            <p:cNvSpPr/>
            <p:nvPr/>
          </p:nvSpPr>
          <p:spPr>
            <a:xfrm>
              <a:off x="6141911" y="4298874"/>
              <a:ext cx="1731897" cy="1084679"/>
            </a:xfrm>
            <a:prstGeom prst="roundRect">
              <a:avLst/>
            </a:prstGeom>
            <a:noFill/>
            <a:ln>
              <a:solidFill>
                <a:srgbClr val="FDE7D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900">
                  <a:solidFill>
                    <a:schemeClr val="bg1">
                      <a:lumMod val="50000"/>
                    </a:schemeClr>
                  </a:solidFill>
                </a:rPr>
                <a:t>Certain suppliers and invoices are automated.</a:t>
              </a:r>
            </a:p>
            <a:p>
              <a:pPr marL="171450" indent="-171450">
                <a:buFont typeface="Wingdings" pitchFamily="2" charset="2"/>
                <a:buChar char="§"/>
              </a:pPr>
              <a:r>
                <a:rPr lang="en-US" sz="900">
                  <a:solidFill>
                    <a:schemeClr val="bg1">
                      <a:lumMod val="50000"/>
                    </a:schemeClr>
                  </a:solidFill>
                </a:rPr>
                <a:t>Operator and analyst must be ready to intervene and manually perform tasks.</a:t>
              </a:r>
            </a:p>
          </p:txBody>
        </p:sp>
        <p:sp>
          <p:nvSpPr>
            <p:cNvPr id="43" name="Rounded Rectangle 42">
              <a:extLst>
                <a:ext uri="{FF2B5EF4-FFF2-40B4-BE49-F238E27FC236}">
                  <a16:creationId xmlns:a16="http://schemas.microsoft.com/office/drawing/2014/main" id="{7198D77E-1D65-5572-E36A-7E87A09752E6}"/>
                </a:ext>
              </a:extLst>
            </p:cNvPr>
            <p:cNvSpPr/>
            <p:nvPr/>
          </p:nvSpPr>
          <p:spPr>
            <a:xfrm>
              <a:off x="7946283" y="4298874"/>
              <a:ext cx="1731897" cy="1084679"/>
            </a:xfrm>
            <a:prstGeom prst="roundRect">
              <a:avLst/>
            </a:prstGeom>
            <a:noFill/>
            <a:ln>
              <a:solidFill>
                <a:srgbClr val="C6F5E9"/>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900">
                  <a:solidFill>
                    <a:schemeClr val="bg1">
                      <a:lumMod val="50000"/>
                    </a:schemeClr>
                  </a:solidFill>
                </a:rPr>
                <a:t>AI reads, understands, and makes independent decisions based on deep finance expertise and company AP policies.</a:t>
              </a:r>
            </a:p>
            <a:p>
              <a:pPr marL="171450" indent="-171450">
                <a:buFont typeface="Wingdings" pitchFamily="2" charset="2"/>
                <a:buChar char="§"/>
              </a:pPr>
              <a:r>
                <a:rPr lang="en-US" sz="900">
                  <a:solidFill>
                    <a:schemeClr val="bg1">
                      <a:lumMod val="50000"/>
                    </a:schemeClr>
                  </a:solidFill>
                </a:rPr>
                <a:t>AP team has option to intervene.</a:t>
              </a:r>
            </a:p>
          </p:txBody>
        </p:sp>
        <p:sp>
          <p:nvSpPr>
            <p:cNvPr id="45" name="Rounded Rectangle 44">
              <a:extLst>
                <a:ext uri="{FF2B5EF4-FFF2-40B4-BE49-F238E27FC236}">
                  <a16:creationId xmlns:a16="http://schemas.microsoft.com/office/drawing/2014/main" id="{29C2E5A6-8AAA-B69E-3B99-C4D345896304}"/>
                </a:ext>
              </a:extLst>
            </p:cNvPr>
            <p:cNvSpPr/>
            <p:nvPr/>
          </p:nvSpPr>
          <p:spPr>
            <a:xfrm>
              <a:off x="9767056" y="4298874"/>
              <a:ext cx="1731897" cy="1084679"/>
            </a:xfrm>
            <a:prstGeom prst="roundRect">
              <a:avLst/>
            </a:prstGeom>
            <a:noFill/>
            <a:ln>
              <a:solidFill>
                <a:srgbClr val="AEE7D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900">
                  <a:solidFill>
                    <a:schemeClr val="bg1">
                      <a:lumMod val="50000"/>
                    </a:schemeClr>
                  </a:solidFill>
                </a:rPr>
                <a:t>AP function runs 100% on its own without human interaction – requires to-be-developed future AI.</a:t>
              </a:r>
            </a:p>
          </p:txBody>
        </p:sp>
      </p:grpSp>
      <p:grpSp>
        <p:nvGrpSpPr>
          <p:cNvPr id="63" name="Group 62">
            <a:extLst>
              <a:ext uri="{FF2B5EF4-FFF2-40B4-BE49-F238E27FC236}">
                <a16:creationId xmlns:a16="http://schemas.microsoft.com/office/drawing/2014/main" id="{AC853A41-D995-75E7-5664-73604CB7E8B3}"/>
              </a:ext>
            </a:extLst>
          </p:cNvPr>
          <p:cNvGrpSpPr/>
          <p:nvPr/>
        </p:nvGrpSpPr>
        <p:grpSpPr>
          <a:xfrm>
            <a:off x="701247" y="5026492"/>
            <a:ext cx="10789506" cy="307441"/>
            <a:chOff x="701247" y="3313321"/>
            <a:chExt cx="10789506" cy="307441"/>
          </a:xfrm>
        </p:grpSpPr>
        <p:cxnSp>
          <p:nvCxnSpPr>
            <p:cNvPr id="49" name="Straight Arrow Connector 48">
              <a:extLst>
                <a:ext uri="{FF2B5EF4-FFF2-40B4-BE49-F238E27FC236}">
                  <a16:creationId xmlns:a16="http://schemas.microsoft.com/office/drawing/2014/main" id="{150AC2EB-446F-1B5A-027F-2C3FD855FB99}"/>
                </a:ext>
              </a:extLst>
            </p:cNvPr>
            <p:cNvCxnSpPr>
              <a:cxnSpLocks/>
            </p:cNvCxnSpPr>
            <p:nvPr/>
          </p:nvCxnSpPr>
          <p:spPr>
            <a:xfrm>
              <a:off x="701247" y="3467041"/>
              <a:ext cx="10789506" cy="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2" name="Rounded Rectangle 51">
              <a:extLst>
                <a:ext uri="{FF2B5EF4-FFF2-40B4-BE49-F238E27FC236}">
                  <a16:creationId xmlns:a16="http://schemas.microsoft.com/office/drawing/2014/main" id="{5752918C-E0DC-3853-537D-10D995703A3E}"/>
                </a:ext>
              </a:extLst>
            </p:cNvPr>
            <p:cNvSpPr/>
            <p:nvPr/>
          </p:nvSpPr>
          <p:spPr>
            <a:xfrm>
              <a:off x="3577605" y="3313321"/>
              <a:ext cx="5036790" cy="307441"/>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Finance Transformation Journey</a:t>
              </a:r>
            </a:p>
          </p:txBody>
        </p:sp>
      </p:grpSp>
      <p:grpSp>
        <p:nvGrpSpPr>
          <p:cNvPr id="3" name="Group 2">
            <a:extLst>
              <a:ext uri="{FF2B5EF4-FFF2-40B4-BE49-F238E27FC236}">
                <a16:creationId xmlns:a16="http://schemas.microsoft.com/office/drawing/2014/main" id="{7A068EA9-F283-92A4-2E93-ED980BACE67D}"/>
              </a:ext>
            </a:extLst>
          </p:cNvPr>
          <p:cNvGrpSpPr/>
          <p:nvPr/>
        </p:nvGrpSpPr>
        <p:grpSpPr>
          <a:xfrm>
            <a:off x="704192" y="1750449"/>
            <a:ext cx="10786561" cy="1308212"/>
            <a:chOff x="704192" y="1876572"/>
            <a:chExt cx="10786561" cy="1308212"/>
          </a:xfrm>
        </p:grpSpPr>
        <p:grpSp>
          <p:nvGrpSpPr>
            <p:cNvPr id="59" name="Group 58">
              <a:extLst>
                <a:ext uri="{FF2B5EF4-FFF2-40B4-BE49-F238E27FC236}">
                  <a16:creationId xmlns:a16="http://schemas.microsoft.com/office/drawing/2014/main" id="{CAA31449-B142-5376-D08F-3C94DC8D4BBB}"/>
                </a:ext>
              </a:extLst>
            </p:cNvPr>
            <p:cNvGrpSpPr/>
            <p:nvPr/>
          </p:nvGrpSpPr>
          <p:grpSpPr>
            <a:xfrm>
              <a:off x="704192" y="2667719"/>
              <a:ext cx="10786561" cy="517065"/>
              <a:chOff x="704192" y="2667719"/>
              <a:chExt cx="10786561" cy="517065"/>
            </a:xfrm>
          </p:grpSpPr>
          <p:sp>
            <p:nvSpPr>
              <p:cNvPr id="5" name="Rounded Rectangle 4">
                <a:extLst>
                  <a:ext uri="{FF2B5EF4-FFF2-40B4-BE49-F238E27FC236}">
                    <a16:creationId xmlns:a16="http://schemas.microsoft.com/office/drawing/2014/main" id="{C85620A9-EF7D-60A1-3C46-1EBF9C1A7077}"/>
                  </a:ext>
                </a:extLst>
              </p:cNvPr>
              <p:cNvSpPr/>
              <p:nvPr/>
            </p:nvSpPr>
            <p:spPr>
              <a:xfrm>
                <a:off x="704192" y="2667719"/>
                <a:ext cx="1723697" cy="517065"/>
              </a:xfrm>
              <a:prstGeom prst="roundRect">
                <a:avLst/>
              </a:prstGeom>
              <a:solidFill>
                <a:srgbClr val="F0C7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6" name="Rounded Rectangle 5">
                <a:extLst>
                  <a:ext uri="{FF2B5EF4-FFF2-40B4-BE49-F238E27FC236}">
                    <a16:creationId xmlns:a16="http://schemas.microsoft.com/office/drawing/2014/main" id="{B65C5A80-976B-81A5-41C9-770E31207967}"/>
                  </a:ext>
                </a:extLst>
              </p:cNvPr>
              <p:cNvSpPr/>
              <p:nvPr/>
            </p:nvSpPr>
            <p:spPr>
              <a:xfrm>
                <a:off x="2516765" y="2667719"/>
                <a:ext cx="1723697" cy="517065"/>
              </a:xfrm>
              <a:prstGeom prst="roundRect">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7" name="Rounded Rectangle 6">
                <a:extLst>
                  <a:ext uri="{FF2B5EF4-FFF2-40B4-BE49-F238E27FC236}">
                    <a16:creationId xmlns:a16="http://schemas.microsoft.com/office/drawing/2014/main" id="{07633EA2-CEB3-AAB2-FB4A-CD35D00006EA}"/>
                  </a:ext>
                </a:extLst>
              </p:cNvPr>
              <p:cNvSpPr/>
              <p:nvPr/>
            </p:nvSpPr>
            <p:spPr>
              <a:xfrm>
                <a:off x="4329338" y="2667719"/>
                <a:ext cx="1723697" cy="517065"/>
              </a:xfrm>
              <a:prstGeom prst="roundRect">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8" name="Rounded Rectangle 7">
                <a:extLst>
                  <a:ext uri="{FF2B5EF4-FFF2-40B4-BE49-F238E27FC236}">
                    <a16:creationId xmlns:a16="http://schemas.microsoft.com/office/drawing/2014/main" id="{86C6D7EB-9458-A187-3CA9-4FE84AFA49A7}"/>
                  </a:ext>
                </a:extLst>
              </p:cNvPr>
              <p:cNvSpPr/>
              <p:nvPr/>
            </p:nvSpPr>
            <p:spPr>
              <a:xfrm>
                <a:off x="6141911" y="2667719"/>
                <a:ext cx="1723697" cy="517065"/>
              </a:xfrm>
              <a:prstGeom prst="roundRect">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9" name="Rounded Rectangle 8">
                <a:extLst>
                  <a:ext uri="{FF2B5EF4-FFF2-40B4-BE49-F238E27FC236}">
                    <a16:creationId xmlns:a16="http://schemas.microsoft.com/office/drawing/2014/main" id="{B287079C-BEB9-0280-8F76-698CAEE330DE}"/>
                  </a:ext>
                </a:extLst>
              </p:cNvPr>
              <p:cNvSpPr/>
              <p:nvPr/>
            </p:nvSpPr>
            <p:spPr>
              <a:xfrm>
                <a:off x="7954484" y="2667719"/>
                <a:ext cx="1723697" cy="517065"/>
              </a:xfrm>
              <a:prstGeom prst="roundRect">
                <a:avLst/>
              </a:prstGeom>
              <a:solidFill>
                <a:srgbClr val="C6F5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11" name="TextBox 10">
                <a:extLst>
                  <a:ext uri="{FF2B5EF4-FFF2-40B4-BE49-F238E27FC236}">
                    <a16:creationId xmlns:a16="http://schemas.microsoft.com/office/drawing/2014/main" id="{6D1CC5A4-EC4B-6627-0734-AA59B48EFF90}"/>
                  </a:ext>
                </a:extLst>
              </p:cNvPr>
              <p:cNvSpPr txBox="1"/>
              <p:nvPr/>
            </p:nvSpPr>
            <p:spPr>
              <a:xfrm>
                <a:off x="777765" y="2676183"/>
                <a:ext cx="578069" cy="500137"/>
              </a:xfrm>
              <a:prstGeom prst="rect">
                <a:avLst/>
              </a:prstGeom>
              <a:noFill/>
            </p:spPr>
            <p:txBody>
              <a:bodyPr wrap="square" rtlCol="0">
                <a:spAutoFit/>
              </a:bodyPr>
              <a:lstStyle/>
              <a:p>
                <a:pPr algn="ctr"/>
                <a:r>
                  <a:rPr lang="en-US" sz="1050">
                    <a:solidFill>
                      <a:schemeClr val="bg1">
                        <a:lumMod val="50000"/>
                      </a:schemeClr>
                    </a:solidFill>
                    <a:latin typeface="Open Sauce One" pitchFamily="2" charset="0"/>
                  </a:rPr>
                  <a:t>Level</a:t>
                </a:r>
              </a:p>
              <a:p>
                <a:pPr algn="ctr"/>
                <a:r>
                  <a:rPr lang="en-US" sz="1600">
                    <a:solidFill>
                      <a:schemeClr val="bg1">
                        <a:lumMod val="50000"/>
                      </a:schemeClr>
                    </a:solidFill>
                    <a:latin typeface="Open Sauce One" pitchFamily="2" charset="0"/>
                  </a:rPr>
                  <a:t>0</a:t>
                </a:r>
              </a:p>
            </p:txBody>
          </p:sp>
          <p:sp>
            <p:nvSpPr>
              <p:cNvPr id="12" name="TextBox 11">
                <a:extLst>
                  <a:ext uri="{FF2B5EF4-FFF2-40B4-BE49-F238E27FC236}">
                    <a16:creationId xmlns:a16="http://schemas.microsoft.com/office/drawing/2014/main" id="{799B1FC0-40B5-34FD-C602-465B68660D87}"/>
                  </a:ext>
                </a:extLst>
              </p:cNvPr>
              <p:cNvSpPr txBox="1"/>
              <p:nvPr/>
            </p:nvSpPr>
            <p:spPr>
              <a:xfrm>
                <a:off x="7991270" y="2676183"/>
                <a:ext cx="578069" cy="500137"/>
              </a:xfrm>
              <a:prstGeom prst="rect">
                <a:avLst/>
              </a:prstGeom>
              <a:noFill/>
            </p:spPr>
            <p:txBody>
              <a:bodyPr wrap="square" rtlCol="0">
                <a:spAutoFit/>
              </a:bodyPr>
              <a:lstStyle/>
              <a:p>
                <a:pPr algn="ctr"/>
                <a:r>
                  <a:rPr lang="en-US" sz="1050">
                    <a:solidFill>
                      <a:schemeClr val="bg1">
                        <a:lumMod val="50000"/>
                      </a:schemeClr>
                    </a:solidFill>
                    <a:latin typeface="Open Sauce One" pitchFamily="2" charset="0"/>
                  </a:rPr>
                  <a:t>Level</a:t>
                </a:r>
              </a:p>
              <a:p>
                <a:pPr algn="ctr"/>
                <a:r>
                  <a:rPr lang="en-US" sz="1600">
                    <a:solidFill>
                      <a:schemeClr val="bg1">
                        <a:lumMod val="50000"/>
                      </a:schemeClr>
                    </a:solidFill>
                    <a:latin typeface="Open Sauce One" pitchFamily="2" charset="0"/>
                  </a:rPr>
                  <a:t>4</a:t>
                </a:r>
              </a:p>
            </p:txBody>
          </p:sp>
          <p:sp>
            <p:nvSpPr>
              <p:cNvPr id="13" name="TextBox 12">
                <a:extLst>
                  <a:ext uri="{FF2B5EF4-FFF2-40B4-BE49-F238E27FC236}">
                    <a16:creationId xmlns:a16="http://schemas.microsoft.com/office/drawing/2014/main" id="{B5DB4EAF-05CB-E476-762A-F7AC722EDBD4}"/>
                  </a:ext>
                </a:extLst>
              </p:cNvPr>
              <p:cNvSpPr txBox="1"/>
              <p:nvPr/>
            </p:nvSpPr>
            <p:spPr>
              <a:xfrm>
                <a:off x="6136656" y="2676183"/>
                <a:ext cx="578069" cy="500137"/>
              </a:xfrm>
              <a:prstGeom prst="rect">
                <a:avLst/>
              </a:prstGeom>
              <a:noFill/>
            </p:spPr>
            <p:txBody>
              <a:bodyPr wrap="square" rtlCol="0">
                <a:spAutoFit/>
              </a:bodyPr>
              <a:lstStyle/>
              <a:p>
                <a:pPr algn="ctr"/>
                <a:r>
                  <a:rPr lang="en-US" sz="1050">
                    <a:solidFill>
                      <a:schemeClr val="bg1">
                        <a:lumMod val="50000"/>
                      </a:schemeClr>
                    </a:solidFill>
                    <a:latin typeface="Open Sauce One" pitchFamily="2" charset="0"/>
                  </a:rPr>
                  <a:t>Level</a:t>
                </a:r>
              </a:p>
              <a:p>
                <a:pPr algn="ctr"/>
                <a:r>
                  <a:rPr lang="en-US" sz="1600">
                    <a:solidFill>
                      <a:schemeClr val="bg1">
                        <a:lumMod val="50000"/>
                      </a:schemeClr>
                    </a:solidFill>
                    <a:latin typeface="Open Sauce One" pitchFamily="2" charset="0"/>
                  </a:rPr>
                  <a:t>3</a:t>
                </a:r>
              </a:p>
            </p:txBody>
          </p:sp>
          <p:sp>
            <p:nvSpPr>
              <p:cNvPr id="14" name="TextBox 13">
                <a:extLst>
                  <a:ext uri="{FF2B5EF4-FFF2-40B4-BE49-F238E27FC236}">
                    <a16:creationId xmlns:a16="http://schemas.microsoft.com/office/drawing/2014/main" id="{1AA2DDA7-5CBF-6F94-972B-7D1932059A33}"/>
                  </a:ext>
                </a:extLst>
              </p:cNvPr>
              <p:cNvSpPr txBox="1"/>
              <p:nvPr/>
            </p:nvSpPr>
            <p:spPr>
              <a:xfrm>
                <a:off x="4362715" y="2676183"/>
                <a:ext cx="578069" cy="500137"/>
              </a:xfrm>
              <a:prstGeom prst="rect">
                <a:avLst/>
              </a:prstGeom>
              <a:noFill/>
            </p:spPr>
            <p:txBody>
              <a:bodyPr wrap="square" rtlCol="0">
                <a:spAutoFit/>
              </a:bodyPr>
              <a:lstStyle/>
              <a:p>
                <a:pPr algn="ctr"/>
                <a:r>
                  <a:rPr lang="en-US" sz="1050">
                    <a:solidFill>
                      <a:schemeClr val="bg1">
                        <a:lumMod val="50000"/>
                      </a:schemeClr>
                    </a:solidFill>
                    <a:latin typeface="Open Sauce One" pitchFamily="2" charset="0"/>
                  </a:rPr>
                  <a:t>Level</a:t>
                </a:r>
              </a:p>
              <a:p>
                <a:pPr algn="ctr"/>
                <a:r>
                  <a:rPr lang="en-US" sz="1600">
                    <a:solidFill>
                      <a:schemeClr val="bg1">
                        <a:lumMod val="50000"/>
                      </a:schemeClr>
                    </a:solidFill>
                    <a:latin typeface="Open Sauce One" pitchFamily="2" charset="0"/>
                  </a:rPr>
                  <a:t>2</a:t>
                </a:r>
              </a:p>
            </p:txBody>
          </p:sp>
          <p:sp>
            <p:nvSpPr>
              <p:cNvPr id="15" name="TextBox 14">
                <a:extLst>
                  <a:ext uri="{FF2B5EF4-FFF2-40B4-BE49-F238E27FC236}">
                    <a16:creationId xmlns:a16="http://schemas.microsoft.com/office/drawing/2014/main" id="{817C5C26-FC2C-B0D6-4954-209560A48E69}"/>
                  </a:ext>
                </a:extLst>
              </p:cNvPr>
              <p:cNvSpPr txBox="1"/>
              <p:nvPr/>
            </p:nvSpPr>
            <p:spPr>
              <a:xfrm>
                <a:off x="2553551" y="2676183"/>
                <a:ext cx="578069" cy="500137"/>
              </a:xfrm>
              <a:prstGeom prst="rect">
                <a:avLst/>
              </a:prstGeom>
              <a:noFill/>
            </p:spPr>
            <p:txBody>
              <a:bodyPr wrap="square" rtlCol="0">
                <a:spAutoFit/>
              </a:bodyPr>
              <a:lstStyle/>
              <a:p>
                <a:pPr algn="ctr"/>
                <a:r>
                  <a:rPr lang="en-US" sz="1050">
                    <a:solidFill>
                      <a:schemeClr val="bg1">
                        <a:lumMod val="50000"/>
                      </a:schemeClr>
                    </a:solidFill>
                    <a:latin typeface="Open Sauce One" pitchFamily="2" charset="0"/>
                  </a:rPr>
                  <a:t>Level</a:t>
                </a:r>
              </a:p>
              <a:p>
                <a:pPr algn="ctr"/>
                <a:r>
                  <a:rPr lang="en-US" sz="1600">
                    <a:solidFill>
                      <a:schemeClr val="bg1">
                        <a:lumMod val="50000"/>
                      </a:schemeClr>
                    </a:solidFill>
                    <a:latin typeface="Open Sauce One" pitchFamily="2" charset="0"/>
                  </a:rPr>
                  <a:t>1</a:t>
                </a:r>
              </a:p>
            </p:txBody>
          </p:sp>
          <p:sp>
            <p:nvSpPr>
              <p:cNvPr id="16" name="Rounded Rectangle 15">
                <a:extLst>
                  <a:ext uri="{FF2B5EF4-FFF2-40B4-BE49-F238E27FC236}">
                    <a16:creationId xmlns:a16="http://schemas.microsoft.com/office/drawing/2014/main" id="{E1C7091E-A617-21AD-F685-47EB23CD60C8}"/>
                  </a:ext>
                </a:extLst>
              </p:cNvPr>
              <p:cNvSpPr/>
              <p:nvPr/>
            </p:nvSpPr>
            <p:spPr>
              <a:xfrm>
                <a:off x="9767056" y="2667719"/>
                <a:ext cx="1723697" cy="517065"/>
              </a:xfrm>
              <a:prstGeom prst="roundRect">
                <a:avLst/>
              </a:prstGeom>
              <a:solidFill>
                <a:srgbClr val="AEE7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17" name="TextBox 16">
                <a:extLst>
                  <a:ext uri="{FF2B5EF4-FFF2-40B4-BE49-F238E27FC236}">
                    <a16:creationId xmlns:a16="http://schemas.microsoft.com/office/drawing/2014/main" id="{6662703A-6BF0-B05D-09CD-871773639C78}"/>
                  </a:ext>
                </a:extLst>
              </p:cNvPr>
              <p:cNvSpPr txBox="1"/>
              <p:nvPr/>
            </p:nvSpPr>
            <p:spPr>
              <a:xfrm>
                <a:off x="9799417" y="2676183"/>
                <a:ext cx="578069" cy="500137"/>
              </a:xfrm>
              <a:prstGeom prst="rect">
                <a:avLst/>
              </a:prstGeom>
              <a:noFill/>
            </p:spPr>
            <p:txBody>
              <a:bodyPr wrap="square" rtlCol="0">
                <a:spAutoFit/>
              </a:bodyPr>
              <a:lstStyle/>
              <a:p>
                <a:pPr algn="ctr"/>
                <a:r>
                  <a:rPr lang="en-US" sz="1050">
                    <a:solidFill>
                      <a:schemeClr val="bg1">
                        <a:lumMod val="50000"/>
                      </a:schemeClr>
                    </a:solidFill>
                    <a:latin typeface="Open Sauce One" pitchFamily="2" charset="0"/>
                  </a:rPr>
                  <a:t>Level</a:t>
                </a:r>
              </a:p>
              <a:p>
                <a:pPr algn="ctr"/>
                <a:r>
                  <a:rPr lang="en-US" sz="1600">
                    <a:solidFill>
                      <a:schemeClr val="bg1">
                        <a:lumMod val="50000"/>
                      </a:schemeClr>
                    </a:solidFill>
                    <a:latin typeface="Open Sauce One" pitchFamily="2" charset="0"/>
                  </a:rPr>
                  <a:t>5</a:t>
                </a:r>
              </a:p>
            </p:txBody>
          </p:sp>
          <p:cxnSp>
            <p:nvCxnSpPr>
              <p:cNvPr id="19" name="Straight Connector 18">
                <a:extLst>
                  <a:ext uri="{FF2B5EF4-FFF2-40B4-BE49-F238E27FC236}">
                    <a16:creationId xmlns:a16="http://schemas.microsoft.com/office/drawing/2014/main" id="{CCD1FAF4-870F-1487-025D-C99CEF723DF8}"/>
                  </a:ext>
                </a:extLst>
              </p:cNvPr>
              <p:cNvCxnSpPr>
                <a:cxnSpLocks/>
              </p:cNvCxnSpPr>
              <p:nvPr/>
            </p:nvCxnSpPr>
            <p:spPr>
              <a:xfrm>
                <a:off x="1355834" y="2687957"/>
                <a:ext cx="0" cy="476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EDF3BED-D046-E5E3-67E6-71F3DC8364C9}"/>
                  </a:ext>
                </a:extLst>
              </p:cNvPr>
              <p:cNvCxnSpPr>
                <a:cxnSpLocks/>
              </p:cNvCxnSpPr>
              <p:nvPr/>
            </p:nvCxnSpPr>
            <p:spPr>
              <a:xfrm>
                <a:off x="3131620" y="2687957"/>
                <a:ext cx="0" cy="476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3511823-7878-605C-AB04-F2CAD5C59CE9}"/>
                  </a:ext>
                </a:extLst>
              </p:cNvPr>
              <p:cNvCxnSpPr>
                <a:cxnSpLocks/>
              </p:cNvCxnSpPr>
              <p:nvPr/>
            </p:nvCxnSpPr>
            <p:spPr>
              <a:xfrm>
                <a:off x="4935066" y="2687957"/>
                <a:ext cx="0" cy="476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0B4AADA-F9FF-1708-ADD2-D92639E0D5D7}"/>
                  </a:ext>
                </a:extLst>
              </p:cNvPr>
              <p:cNvCxnSpPr>
                <a:cxnSpLocks/>
              </p:cNvCxnSpPr>
              <p:nvPr/>
            </p:nvCxnSpPr>
            <p:spPr>
              <a:xfrm>
                <a:off x="6704674" y="2687957"/>
                <a:ext cx="0" cy="476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5E86833-B974-452A-3C34-DBBB75267B6A}"/>
                  </a:ext>
                </a:extLst>
              </p:cNvPr>
              <p:cNvCxnSpPr>
                <a:cxnSpLocks/>
              </p:cNvCxnSpPr>
              <p:nvPr/>
            </p:nvCxnSpPr>
            <p:spPr>
              <a:xfrm>
                <a:off x="8486177" y="2687957"/>
                <a:ext cx="0" cy="476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F9DE5E-7B00-4DC3-D70D-77446EAC43FE}"/>
                  </a:ext>
                </a:extLst>
              </p:cNvPr>
              <p:cNvCxnSpPr>
                <a:cxnSpLocks/>
              </p:cNvCxnSpPr>
              <p:nvPr/>
            </p:nvCxnSpPr>
            <p:spPr>
              <a:xfrm>
                <a:off x="10377486" y="2687957"/>
                <a:ext cx="0" cy="476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548BC91-A024-4E0C-3C0B-BF02736CAA4E}"/>
                  </a:ext>
                </a:extLst>
              </p:cNvPr>
              <p:cNvSpPr txBox="1"/>
              <p:nvPr/>
            </p:nvSpPr>
            <p:spPr>
              <a:xfrm>
                <a:off x="1383874" y="2756974"/>
                <a:ext cx="964250" cy="338554"/>
              </a:xfrm>
              <a:prstGeom prst="rect">
                <a:avLst/>
              </a:prstGeom>
              <a:noFill/>
            </p:spPr>
            <p:txBody>
              <a:bodyPr wrap="square" rtlCol="0">
                <a:spAutoFit/>
              </a:bodyPr>
              <a:lstStyle/>
              <a:p>
                <a:pPr algn="ctr"/>
                <a:r>
                  <a:rPr lang="en-US" sz="1600">
                    <a:solidFill>
                      <a:schemeClr val="bg1">
                        <a:lumMod val="50000"/>
                      </a:schemeClr>
                    </a:solidFill>
                    <a:latin typeface="Open Sauce One" pitchFamily="2" charset="0"/>
                  </a:rPr>
                  <a:t>Manuel</a:t>
                </a:r>
                <a:endParaRPr lang="en-US" sz="1050">
                  <a:solidFill>
                    <a:schemeClr val="bg1">
                      <a:lumMod val="50000"/>
                    </a:schemeClr>
                  </a:solidFill>
                  <a:latin typeface="Open Sauce One" pitchFamily="2" charset="0"/>
                </a:endParaRPr>
              </a:p>
            </p:txBody>
          </p:sp>
          <p:sp>
            <p:nvSpPr>
              <p:cNvPr id="26" name="TextBox 25">
                <a:extLst>
                  <a:ext uri="{FF2B5EF4-FFF2-40B4-BE49-F238E27FC236}">
                    <a16:creationId xmlns:a16="http://schemas.microsoft.com/office/drawing/2014/main" id="{A0CB1D43-9DF7-159A-43C2-7E612EB6BA83}"/>
                  </a:ext>
                </a:extLst>
              </p:cNvPr>
              <p:cNvSpPr txBox="1"/>
              <p:nvPr/>
            </p:nvSpPr>
            <p:spPr>
              <a:xfrm>
                <a:off x="3163981" y="2687724"/>
                <a:ext cx="964250" cy="477054"/>
              </a:xfrm>
              <a:prstGeom prst="rect">
                <a:avLst/>
              </a:prstGeom>
              <a:noFill/>
            </p:spPr>
            <p:txBody>
              <a:bodyPr wrap="square" rtlCol="0">
                <a:spAutoFit/>
              </a:bodyPr>
              <a:lstStyle/>
              <a:p>
                <a:pPr algn="ctr"/>
                <a:r>
                  <a:rPr lang="en-US" sz="1600">
                    <a:solidFill>
                      <a:schemeClr val="bg1">
                        <a:lumMod val="50000"/>
                      </a:schemeClr>
                    </a:solidFill>
                    <a:latin typeface="Open Sauce One" pitchFamily="2" charset="0"/>
                  </a:rPr>
                  <a:t>~20%</a:t>
                </a:r>
              </a:p>
              <a:p>
                <a:pPr algn="ctr"/>
                <a:r>
                  <a:rPr lang="en-US" sz="900">
                    <a:solidFill>
                      <a:schemeClr val="bg1">
                        <a:lumMod val="50000"/>
                      </a:schemeClr>
                    </a:solidFill>
                    <a:latin typeface="Open Sauce One" pitchFamily="2" charset="0"/>
                  </a:rPr>
                  <a:t>Assisted</a:t>
                </a:r>
              </a:p>
            </p:txBody>
          </p:sp>
          <p:sp>
            <p:nvSpPr>
              <p:cNvPr id="32" name="TextBox 31">
                <a:extLst>
                  <a:ext uri="{FF2B5EF4-FFF2-40B4-BE49-F238E27FC236}">
                    <a16:creationId xmlns:a16="http://schemas.microsoft.com/office/drawing/2014/main" id="{093F127A-17CA-1319-11A9-DBB923E48855}"/>
                  </a:ext>
                </a:extLst>
              </p:cNvPr>
              <p:cNvSpPr txBox="1"/>
              <p:nvPr/>
            </p:nvSpPr>
            <p:spPr>
              <a:xfrm>
                <a:off x="4979788" y="2687724"/>
                <a:ext cx="964250" cy="477054"/>
              </a:xfrm>
              <a:prstGeom prst="rect">
                <a:avLst/>
              </a:prstGeom>
              <a:noFill/>
            </p:spPr>
            <p:txBody>
              <a:bodyPr wrap="square" rtlCol="0">
                <a:spAutoFit/>
              </a:bodyPr>
              <a:lstStyle/>
              <a:p>
                <a:pPr algn="ctr"/>
                <a:r>
                  <a:rPr lang="en-US" sz="1600">
                    <a:solidFill>
                      <a:schemeClr val="bg1">
                        <a:lumMod val="50000"/>
                      </a:schemeClr>
                    </a:solidFill>
                    <a:latin typeface="Open Sauce One" pitchFamily="2" charset="0"/>
                  </a:rPr>
                  <a:t>~40%</a:t>
                </a:r>
              </a:p>
              <a:p>
                <a:pPr algn="ctr"/>
                <a:r>
                  <a:rPr lang="en-US" sz="900">
                    <a:solidFill>
                      <a:schemeClr val="bg1">
                        <a:lumMod val="50000"/>
                      </a:schemeClr>
                    </a:solidFill>
                    <a:latin typeface="Open Sauce One" pitchFamily="2" charset="0"/>
                  </a:rPr>
                  <a:t>Assisted</a:t>
                </a:r>
                <a:endParaRPr lang="en-US" sz="1050">
                  <a:solidFill>
                    <a:schemeClr val="bg1">
                      <a:lumMod val="50000"/>
                    </a:schemeClr>
                  </a:solidFill>
                  <a:latin typeface="Open Sauce One" pitchFamily="2" charset="0"/>
                </a:endParaRPr>
              </a:p>
            </p:txBody>
          </p:sp>
          <p:sp>
            <p:nvSpPr>
              <p:cNvPr id="33" name="TextBox 32">
                <a:extLst>
                  <a:ext uri="{FF2B5EF4-FFF2-40B4-BE49-F238E27FC236}">
                    <a16:creationId xmlns:a16="http://schemas.microsoft.com/office/drawing/2014/main" id="{6336B1C3-3269-61E7-728E-DC675CF06665}"/>
                  </a:ext>
                </a:extLst>
              </p:cNvPr>
              <p:cNvSpPr txBox="1"/>
              <p:nvPr/>
            </p:nvSpPr>
            <p:spPr>
              <a:xfrm>
                <a:off x="6795595" y="2687724"/>
                <a:ext cx="964250" cy="477054"/>
              </a:xfrm>
              <a:prstGeom prst="rect">
                <a:avLst/>
              </a:prstGeom>
              <a:noFill/>
            </p:spPr>
            <p:txBody>
              <a:bodyPr wrap="square" rtlCol="0">
                <a:spAutoFit/>
              </a:bodyPr>
              <a:lstStyle/>
              <a:p>
                <a:pPr algn="ctr"/>
                <a:r>
                  <a:rPr lang="en-US" sz="1600">
                    <a:solidFill>
                      <a:schemeClr val="bg1">
                        <a:lumMod val="50000"/>
                      </a:schemeClr>
                    </a:solidFill>
                    <a:latin typeface="Open Sauce One" pitchFamily="2" charset="0"/>
                  </a:rPr>
                  <a:t>~60%</a:t>
                </a:r>
              </a:p>
              <a:p>
                <a:pPr algn="ctr"/>
                <a:r>
                  <a:rPr lang="en-US" sz="900">
                    <a:solidFill>
                      <a:schemeClr val="bg1">
                        <a:lumMod val="50000"/>
                      </a:schemeClr>
                    </a:solidFill>
                    <a:latin typeface="Open Sauce One" pitchFamily="2" charset="0"/>
                  </a:rPr>
                  <a:t>Assisted</a:t>
                </a:r>
              </a:p>
            </p:txBody>
          </p:sp>
          <p:sp>
            <p:nvSpPr>
              <p:cNvPr id="34" name="TextBox 33">
                <a:extLst>
                  <a:ext uri="{FF2B5EF4-FFF2-40B4-BE49-F238E27FC236}">
                    <a16:creationId xmlns:a16="http://schemas.microsoft.com/office/drawing/2014/main" id="{4BFBFCA4-2791-6518-ABD8-F5849632E50C}"/>
                  </a:ext>
                </a:extLst>
              </p:cNvPr>
              <p:cNvSpPr txBox="1"/>
              <p:nvPr/>
            </p:nvSpPr>
            <p:spPr>
              <a:xfrm>
                <a:off x="8611402" y="2687724"/>
                <a:ext cx="964250" cy="477054"/>
              </a:xfrm>
              <a:prstGeom prst="rect">
                <a:avLst/>
              </a:prstGeom>
              <a:noFill/>
            </p:spPr>
            <p:txBody>
              <a:bodyPr wrap="square" rtlCol="0">
                <a:spAutoFit/>
              </a:bodyPr>
              <a:lstStyle/>
              <a:p>
                <a:pPr algn="ctr"/>
                <a:r>
                  <a:rPr lang="en-US" sz="1600">
                    <a:solidFill>
                      <a:schemeClr val="bg1">
                        <a:lumMod val="50000"/>
                      </a:schemeClr>
                    </a:solidFill>
                    <a:latin typeface="Open Sauce One" pitchFamily="2" charset="0"/>
                  </a:rPr>
                  <a:t>~80%</a:t>
                </a:r>
              </a:p>
              <a:p>
                <a:pPr algn="ctr"/>
                <a:r>
                  <a:rPr lang="en-US" sz="900">
                    <a:solidFill>
                      <a:schemeClr val="bg1">
                        <a:lumMod val="50000"/>
                      </a:schemeClr>
                    </a:solidFill>
                    <a:latin typeface="Open Sauce One" pitchFamily="2" charset="0"/>
                  </a:rPr>
                  <a:t>Autonomous</a:t>
                </a:r>
              </a:p>
            </p:txBody>
          </p:sp>
          <p:sp>
            <p:nvSpPr>
              <p:cNvPr id="35" name="TextBox 34">
                <a:extLst>
                  <a:ext uri="{FF2B5EF4-FFF2-40B4-BE49-F238E27FC236}">
                    <a16:creationId xmlns:a16="http://schemas.microsoft.com/office/drawing/2014/main" id="{6D3BAD05-13B6-5A63-2981-85BBC6B4AFD1}"/>
                  </a:ext>
                </a:extLst>
              </p:cNvPr>
              <p:cNvSpPr txBox="1"/>
              <p:nvPr/>
            </p:nvSpPr>
            <p:spPr>
              <a:xfrm>
                <a:off x="10427207" y="2687724"/>
                <a:ext cx="964250" cy="477054"/>
              </a:xfrm>
              <a:prstGeom prst="rect">
                <a:avLst/>
              </a:prstGeom>
              <a:noFill/>
            </p:spPr>
            <p:txBody>
              <a:bodyPr wrap="square" rtlCol="0">
                <a:spAutoFit/>
              </a:bodyPr>
              <a:lstStyle/>
              <a:p>
                <a:pPr algn="ctr"/>
                <a:r>
                  <a:rPr lang="en-US" sz="1600">
                    <a:solidFill>
                      <a:schemeClr val="bg1">
                        <a:lumMod val="50000"/>
                      </a:schemeClr>
                    </a:solidFill>
                    <a:latin typeface="Open Sauce One" pitchFamily="2" charset="0"/>
                  </a:rPr>
                  <a:t>~100%</a:t>
                </a:r>
              </a:p>
              <a:p>
                <a:pPr algn="ctr"/>
                <a:r>
                  <a:rPr lang="en-US" sz="900">
                    <a:solidFill>
                      <a:schemeClr val="bg1">
                        <a:lumMod val="50000"/>
                      </a:schemeClr>
                    </a:solidFill>
                    <a:latin typeface="Open Sauce One" pitchFamily="2" charset="0"/>
                  </a:rPr>
                  <a:t>Autonomous</a:t>
                </a:r>
              </a:p>
            </p:txBody>
          </p:sp>
        </p:grpSp>
        <p:sp>
          <p:nvSpPr>
            <p:cNvPr id="57" name="Lekerekített téglalap 58">
              <a:extLst>
                <a:ext uri="{FF2B5EF4-FFF2-40B4-BE49-F238E27FC236}">
                  <a16:creationId xmlns:a16="http://schemas.microsoft.com/office/drawing/2014/main" id="{010BB20E-8D38-F679-D59B-14DFB3752DC9}"/>
                </a:ext>
              </a:extLst>
            </p:cNvPr>
            <p:cNvSpPr/>
            <p:nvPr/>
          </p:nvSpPr>
          <p:spPr>
            <a:xfrm rot="5400000">
              <a:off x="8532985" y="1298071"/>
              <a:ext cx="566690" cy="1723696"/>
            </a:xfrm>
            <a:prstGeom prst="roundRect">
              <a:avLst/>
            </a:prstGeom>
            <a:noFill/>
            <a:ln>
              <a:gradFill>
                <a:gsLst>
                  <a:gs pos="38000">
                    <a:schemeClr val="accent3"/>
                  </a:gs>
                  <a:gs pos="100000">
                    <a:schemeClr val="accent4"/>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pic>
          <p:nvPicPr>
            <p:cNvPr id="58" name="Ábra 26">
              <a:extLst>
                <a:ext uri="{FF2B5EF4-FFF2-40B4-BE49-F238E27FC236}">
                  <a16:creationId xmlns:a16="http://schemas.microsoft.com/office/drawing/2014/main" id="{7686A535-1032-307C-15EE-61872D4DBC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72166" y="1876572"/>
              <a:ext cx="1288327" cy="445546"/>
            </a:xfrm>
            <a:prstGeom prst="rect">
              <a:avLst/>
            </a:prstGeom>
          </p:spPr>
        </p:pic>
        <p:cxnSp>
          <p:nvCxnSpPr>
            <p:cNvPr id="65" name="Straight Arrow Connector 64">
              <a:extLst>
                <a:ext uri="{FF2B5EF4-FFF2-40B4-BE49-F238E27FC236}">
                  <a16:creationId xmlns:a16="http://schemas.microsoft.com/office/drawing/2014/main" id="{0384C089-5696-3FC9-651C-2C136D0C2119}"/>
                </a:ext>
              </a:extLst>
            </p:cNvPr>
            <p:cNvCxnSpPr>
              <a:stCxn id="9" idx="0"/>
              <a:endCxn id="58" idx="2"/>
            </p:cNvCxnSpPr>
            <p:nvPr/>
          </p:nvCxnSpPr>
          <p:spPr>
            <a:xfrm flipH="1" flipV="1">
              <a:off x="8816330" y="2322118"/>
              <a:ext cx="3" cy="34560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sp>
        <p:nvSpPr>
          <p:cNvPr id="66" name="TextBox 65">
            <a:extLst>
              <a:ext uri="{FF2B5EF4-FFF2-40B4-BE49-F238E27FC236}">
                <a16:creationId xmlns:a16="http://schemas.microsoft.com/office/drawing/2014/main" id="{FEF2B816-8AEA-FA69-7BC1-83A61F26F0F2}"/>
              </a:ext>
            </a:extLst>
          </p:cNvPr>
          <p:cNvSpPr txBox="1"/>
          <p:nvPr/>
        </p:nvSpPr>
        <p:spPr>
          <a:xfrm>
            <a:off x="970097" y="5749159"/>
            <a:ext cx="7516080" cy="184666"/>
          </a:xfrm>
          <a:prstGeom prst="rect">
            <a:avLst/>
          </a:prstGeom>
          <a:noFill/>
        </p:spPr>
        <p:txBody>
          <a:bodyPr wrap="square" rtlCol="0">
            <a:spAutoFit/>
          </a:bodyPr>
          <a:lstStyle/>
          <a:p>
            <a:pPr algn="l"/>
            <a:r>
              <a:rPr lang="en-US" sz="600">
                <a:solidFill>
                  <a:schemeClr val="bg1">
                    <a:lumMod val="50000"/>
                  </a:schemeClr>
                </a:solidFill>
                <a:latin typeface="Open Sauce One" pitchFamily="2" charset="0"/>
              </a:rPr>
              <a:t>Note: Autonomous Index adopted from </a:t>
            </a:r>
            <a:r>
              <a:rPr lang="en-US" sz="600" err="1">
                <a:solidFill>
                  <a:schemeClr val="bg1">
                    <a:lumMod val="50000"/>
                  </a:schemeClr>
                </a:solidFill>
                <a:latin typeface="Open Sauce One" pitchFamily="2" charset="0"/>
              </a:rPr>
              <a:t>Appzen</a:t>
            </a:r>
            <a:r>
              <a:rPr lang="en-US" sz="600">
                <a:solidFill>
                  <a:schemeClr val="bg1">
                    <a:lumMod val="50000"/>
                  </a:schemeClr>
                </a:solidFill>
                <a:latin typeface="Open Sauce One" pitchFamily="2" charset="0"/>
              </a:rPr>
              <a:t> </a:t>
            </a:r>
          </a:p>
        </p:txBody>
      </p:sp>
      <p:sp>
        <p:nvSpPr>
          <p:cNvPr id="10" name="TextBox 9">
            <a:extLst>
              <a:ext uri="{FF2B5EF4-FFF2-40B4-BE49-F238E27FC236}">
                <a16:creationId xmlns:a16="http://schemas.microsoft.com/office/drawing/2014/main" id="{83061148-1E59-1B41-74DB-8DB58D128337}"/>
              </a:ext>
            </a:extLst>
          </p:cNvPr>
          <p:cNvSpPr txBox="1"/>
          <p:nvPr/>
        </p:nvSpPr>
        <p:spPr>
          <a:xfrm>
            <a:off x="738034" y="1529706"/>
            <a:ext cx="6159062" cy="646331"/>
          </a:xfrm>
          <a:prstGeom prst="rect">
            <a:avLst/>
          </a:prstGeom>
          <a:noFill/>
        </p:spPr>
        <p:txBody>
          <a:bodyPr wrap="square">
            <a:spAutoFit/>
          </a:bodyPr>
          <a:lstStyle/>
          <a:p>
            <a:pPr algn="l"/>
            <a:r>
              <a:rPr lang="en-GB" sz="1200" b="0" i="0">
                <a:solidFill>
                  <a:srgbClr val="485589"/>
                </a:solidFill>
                <a:effectLst/>
                <a:latin typeface="Open Sauce One" pitchFamily="2" charset="77"/>
              </a:rPr>
              <a:t>Index acts as a benchmarking tool for organizations to establish their level of autonomous maturity, and understand the roadmap for future investment and improvements within their department.</a:t>
            </a:r>
            <a:endParaRPr lang="en-GB" sz="1200" b="1" i="0" u="none" strike="noStrike">
              <a:solidFill>
                <a:srgbClr val="252D53"/>
              </a:solidFill>
              <a:effectLst/>
              <a:latin typeface="Open Sauce One" pitchFamily="2" charset="77"/>
            </a:endParaRPr>
          </a:p>
        </p:txBody>
      </p:sp>
    </p:spTree>
    <p:extLst>
      <p:ext uri="{BB962C8B-B14F-4D97-AF65-F5344CB8AC3E}">
        <p14:creationId xmlns:p14="http://schemas.microsoft.com/office/powerpoint/2010/main" val="2700934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E14F82CA-5236-3421-F44F-7A3206816005}"/>
              </a:ext>
            </a:extLst>
          </p:cNvPr>
          <p:cNvGraphicFramePr>
            <a:graphicFrameLocks noChangeAspect="1"/>
          </p:cNvGraphicFramePr>
          <p:nvPr>
            <p:custDataLst>
              <p:tags r:id="rId1"/>
            </p:custDataLst>
            <p:extLst>
              <p:ext uri="{D42A27DB-BD31-4B8C-83A1-F6EECF244321}">
                <p14:modId xmlns:p14="http://schemas.microsoft.com/office/powerpoint/2010/main" val="2307746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9" name="think-cell data - do not delete" hidden="1">
                        <a:extLst>
                          <a:ext uri="{FF2B5EF4-FFF2-40B4-BE49-F238E27FC236}">
                            <a16:creationId xmlns:a16="http://schemas.microsoft.com/office/drawing/2014/main" id="{E14F82CA-5236-3421-F44F-7A3206816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D2B45532-4806-5CD7-BCDF-33EE7544CA7E}"/>
              </a:ext>
            </a:extLst>
          </p:cNvPr>
          <p:cNvSpPr>
            <a:spLocks noGrp="1"/>
          </p:cNvSpPr>
          <p:nvPr>
            <p:ph type="title"/>
          </p:nvPr>
        </p:nvSpPr>
        <p:spPr>
          <a:xfrm>
            <a:off x="407988" y="404813"/>
            <a:ext cx="11341100" cy="584775"/>
          </a:xfrm>
        </p:spPr>
        <p:txBody>
          <a:bodyPr vert="horz"/>
          <a:lstStyle/>
          <a:p>
            <a:r>
              <a:rPr lang="en-US"/>
              <a:t>Finance Autonomous Maturity Index</a:t>
            </a:r>
          </a:p>
        </p:txBody>
      </p:sp>
      <p:sp>
        <p:nvSpPr>
          <p:cNvPr id="4" name="Dia számának helye 3">
            <a:extLst>
              <a:ext uri="{FF2B5EF4-FFF2-40B4-BE49-F238E27FC236}">
                <a16:creationId xmlns:a16="http://schemas.microsoft.com/office/drawing/2014/main" id="{A055EF12-F52B-8B7C-5CF2-6A45AAC509B4}"/>
              </a:ext>
            </a:extLst>
          </p:cNvPr>
          <p:cNvSpPr>
            <a:spLocks noGrp="1"/>
          </p:cNvSpPr>
          <p:nvPr>
            <p:ph type="sldNum" sz="quarter" idx="12"/>
          </p:nvPr>
        </p:nvSpPr>
        <p:spPr/>
        <p:txBody>
          <a:bodyPr/>
          <a:lstStyle/>
          <a:p>
            <a:fld id="{61F2D668-955E-AB45-9B4E-D4D3490B1261}" type="slidenum">
              <a:rPr lang="en-US" smtClean="0"/>
              <a:t>49</a:t>
            </a:fld>
            <a:endParaRPr lang="en-US"/>
          </a:p>
        </p:txBody>
      </p:sp>
      <p:grpSp>
        <p:nvGrpSpPr>
          <p:cNvPr id="26" name="Group 25">
            <a:extLst>
              <a:ext uri="{FF2B5EF4-FFF2-40B4-BE49-F238E27FC236}">
                <a16:creationId xmlns:a16="http://schemas.microsoft.com/office/drawing/2014/main" id="{BC65CAAE-9A2F-67AF-A17B-CBA2E3DEE5B8}"/>
              </a:ext>
            </a:extLst>
          </p:cNvPr>
          <p:cNvGrpSpPr/>
          <p:nvPr/>
        </p:nvGrpSpPr>
        <p:grpSpPr>
          <a:xfrm>
            <a:off x="425451" y="1142888"/>
            <a:ext cx="11341098" cy="5155063"/>
            <a:chOff x="425451" y="1142888"/>
            <a:chExt cx="11341098" cy="5155063"/>
          </a:xfrm>
        </p:grpSpPr>
        <p:grpSp>
          <p:nvGrpSpPr>
            <p:cNvPr id="18" name="Group 17">
              <a:extLst>
                <a:ext uri="{FF2B5EF4-FFF2-40B4-BE49-F238E27FC236}">
                  <a16:creationId xmlns:a16="http://schemas.microsoft.com/office/drawing/2014/main" id="{81F647AC-0296-BE47-44A1-A04F154E72EC}"/>
                </a:ext>
              </a:extLst>
            </p:cNvPr>
            <p:cNvGrpSpPr/>
            <p:nvPr/>
          </p:nvGrpSpPr>
          <p:grpSpPr>
            <a:xfrm>
              <a:off x="425451" y="1142888"/>
              <a:ext cx="11341098" cy="5155063"/>
              <a:chOff x="425451" y="1184928"/>
              <a:chExt cx="11341098" cy="5155063"/>
            </a:xfrm>
          </p:grpSpPr>
          <p:sp>
            <p:nvSpPr>
              <p:cNvPr id="10" name="Lekerekített téglalap 8">
                <a:extLst>
                  <a:ext uri="{FF2B5EF4-FFF2-40B4-BE49-F238E27FC236}">
                    <a16:creationId xmlns:a16="http://schemas.microsoft.com/office/drawing/2014/main" id="{7433B22B-C7E7-3D81-05BA-7CD4798AF94A}"/>
                  </a:ext>
                </a:extLst>
              </p:cNvPr>
              <p:cNvSpPr/>
              <p:nvPr/>
            </p:nvSpPr>
            <p:spPr>
              <a:xfrm>
                <a:off x="425451" y="1184928"/>
                <a:ext cx="11341098" cy="5155063"/>
              </a:xfrm>
              <a:prstGeom prst="roundRect">
                <a:avLst>
                  <a:gd name="adj" fmla="val 13804"/>
                </a:avLst>
              </a:prstGeom>
              <a:solidFill>
                <a:schemeClr val="accent3"/>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grpSp>
            <p:nvGrpSpPr>
              <p:cNvPr id="3" name="Group 2">
                <a:extLst>
                  <a:ext uri="{FF2B5EF4-FFF2-40B4-BE49-F238E27FC236}">
                    <a16:creationId xmlns:a16="http://schemas.microsoft.com/office/drawing/2014/main" id="{5BC7568F-333E-D25E-1837-134B655A0A43}"/>
                  </a:ext>
                </a:extLst>
              </p:cNvPr>
              <p:cNvGrpSpPr/>
              <p:nvPr/>
            </p:nvGrpSpPr>
            <p:grpSpPr>
              <a:xfrm>
                <a:off x="664461" y="1339622"/>
                <a:ext cx="10863079" cy="4845675"/>
                <a:chOff x="720182" y="1287844"/>
                <a:chExt cx="10863079" cy="4845675"/>
              </a:xfrm>
            </p:grpSpPr>
            <p:grpSp>
              <p:nvGrpSpPr>
                <p:cNvPr id="86" name="Group 85">
                  <a:extLst>
                    <a:ext uri="{FF2B5EF4-FFF2-40B4-BE49-F238E27FC236}">
                      <a16:creationId xmlns:a16="http://schemas.microsoft.com/office/drawing/2014/main" id="{8580125F-62AA-83F6-E421-04F1D48B8E91}"/>
                    </a:ext>
                  </a:extLst>
                </p:cNvPr>
                <p:cNvGrpSpPr/>
                <p:nvPr/>
              </p:nvGrpSpPr>
              <p:grpSpPr>
                <a:xfrm>
                  <a:off x="739961" y="3292350"/>
                  <a:ext cx="10797706" cy="2026207"/>
                  <a:chOff x="701247" y="3807363"/>
                  <a:chExt cx="10797706" cy="2026207"/>
                </a:xfrm>
              </p:grpSpPr>
              <p:grpSp>
                <p:nvGrpSpPr>
                  <p:cNvPr id="60" name="Group 59">
                    <a:extLst>
                      <a:ext uri="{FF2B5EF4-FFF2-40B4-BE49-F238E27FC236}">
                        <a16:creationId xmlns:a16="http://schemas.microsoft.com/office/drawing/2014/main" id="{499FE12E-4F4D-6A78-09A6-EE0E75D31E3A}"/>
                      </a:ext>
                    </a:extLst>
                  </p:cNvPr>
                  <p:cNvGrpSpPr/>
                  <p:nvPr/>
                </p:nvGrpSpPr>
                <p:grpSpPr>
                  <a:xfrm>
                    <a:off x="704192" y="3807363"/>
                    <a:ext cx="10788943" cy="425749"/>
                    <a:chOff x="704192" y="3807363"/>
                    <a:chExt cx="10788943" cy="425749"/>
                  </a:xfrm>
                </p:grpSpPr>
                <p:sp>
                  <p:nvSpPr>
                    <p:cNvPr id="37" name="Rounded Rectangle 36">
                      <a:extLst>
                        <a:ext uri="{FF2B5EF4-FFF2-40B4-BE49-F238E27FC236}">
                          <a16:creationId xmlns:a16="http://schemas.microsoft.com/office/drawing/2014/main" id="{88E11D63-A461-B41F-A50F-B23DF6A09116}"/>
                        </a:ext>
                      </a:extLst>
                    </p:cNvPr>
                    <p:cNvSpPr/>
                    <p:nvPr/>
                  </p:nvSpPr>
                  <p:spPr>
                    <a:xfrm>
                      <a:off x="704192" y="3807363"/>
                      <a:ext cx="1723697" cy="425749"/>
                    </a:xfrm>
                    <a:prstGeom prst="roundRect">
                      <a:avLst/>
                    </a:prstGeom>
                    <a:solidFill>
                      <a:srgbClr val="F0C7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solidFill>
                        </a:rPr>
                        <a:t>ERP</a:t>
                      </a:r>
                      <a:endParaRPr lang="en-US">
                        <a:solidFill>
                          <a:schemeClr val="accent2"/>
                        </a:solidFill>
                      </a:endParaRPr>
                    </a:p>
                  </p:txBody>
                </p:sp>
                <p:sp>
                  <p:nvSpPr>
                    <p:cNvPr id="38" name="Rounded Rectangle 37">
                      <a:extLst>
                        <a:ext uri="{FF2B5EF4-FFF2-40B4-BE49-F238E27FC236}">
                          <a16:creationId xmlns:a16="http://schemas.microsoft.com/office/drawing/2014/main" id="{8793D0A2-851E-9096-4484-535B5E0B4EDB}"/>
                        </a:ext>
                      </a:extLst>
                    </p:cNvPr>
                    <p:cNvSpPr/>
                    <p:nvPr/>
                  </p:nvSpPr>
                  <p:spPr>
                    <a:xfrm>
                      <a:off x="2516765" y="3807363"/>
                      <a:ext cx="5348843" cy="425749"/>
                    </a:xfrm>
                    <a:prstGeom prst="roundRect">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solidFill>
                        </a:rPr>
                        <a:t>OCR, EDI, XML, Supplier Portal, Template-based Invoice Processing, RPA, BI, Analytics, Predictive Intelligence</a:t>
                      </a:r>
                    </a:p>
                  </p:txBody>
                </p:sp>
                <p:sp>
                  <p:nvSpPr>
                    <p:cNvPr id="42" name="Rounded Rectangle 41">
                      <a:extLst>
                        <a:ext uri="{FF2B5EF4-FFF2-40B4-BE49-F238E27FC236}">
                          <a16:creationId xmlns:a16="http://schemas.microsoft.com/office/drawing/2014/main" id="{CA884392-9DEB-60AC-9627-1A8F74F81361}"/>
                        </a:ext>
                      </a:extLst>
                    </p:cNvPr>
                    <p:cNvSpPr/>
                    <p:nvPr/>
                  </p:nvSpPr>
                  <p:spPr>
                    <a:xfrm>
                      <a:off x="7954483" y="3807363"/>
                      <a:ext cx="1723697" cy="425749"/>
                    </a:xfrm>
                    <a:prstGeom prst="roundRect">
                      <a:avLst/>
                    </a:prstGeom>
                    <a:solidFill>
                      <a:srgbClr val="C6F5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solidFill>
                        </a:rPr>
                        <a:t>Artificial Intelligence</a:t>
                      </a:r>
                      <a:endParaRPr lang="en-US">
                        <a:solidFill>
                          <a:schemeClr val="accent2"/>
                        </a:solidFill>
                      </a:endParaRPr>
                    </a:p>
                  </p:txBody>
                </p:sp>
                <p:sp>
                  <p:nvSpPr>
                    <p:cNvPr id="44" name="Rounded Rectangle 43">
                      <a:extLst>
                        <a:ext uri="{FF2B5EF4-FFF2-40B4-BE49-F238E27FC236}">
                          <a16:creationId xmlns:a16="http://schemas.microsoft.com/office/drawing/2014/main" id="{5E0C3C62-D666-9C19-F34F-403B61312A61}"/>
                        </a:ext>
                      </a:extLst>
                    </p:cNvPr>
                    <p:cNvSpPr/>
                    <p:nvPr/>
                  </p:nvSpPr>
                  <p:spPr>
                    <a:xfrm>
                      <a:off x="9769438" y="3807363"/>
                      <a:ext cx="1723697" cy="425749"/>
                    </a:xfrm>
                    <a:prstGeom prst="roundRect">
                      <a:avLst/>
                    </a:prstGeom>
                    <a:solidFill>
                      <a:srgbClr val="C6F5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solidFill>
                        </a:rPr>
                        <a:t>No existing technology currently</a:t>
                      </a:r>
                      <a:endParaRPr lang="en-US">
                        <a:solidFill>
                          <a:schemeClr val="accent2"/>
                        </a:solidFill>
                      </a:endParaRPr>
                    </a:p>
                  </p:txBody>
                </p:sp>
              </p:grpSp>
              <p:grpSp>
                <p:nvGrpSpPr>
                  <p:cNvPr id="62" name="Group 61">
                    <a:extLst>
                      <a:ext uri="{FF2B5EF4-FFF2-40B4-BE49-F238E27FC236}">
                        <a16:creationId xmlns:a16="http://schemas.microsoft.com/office/drawing/2014/main" id="{543E173A-EB07-904F-D429-EEDEA5ABF8FD}"/>
                      </a:ext>
                    </a:extLst>
                  </p:cNvPr>
                  <p:cNvGrpSpPr/>
                  <p:nvPr/>
                </p:nvGrpSpPr>
                <p:grpSpPr>
                  <a:xfrm>
                    <a:off x="701247" y="4298873"/>
                    <a:ext cx="10797706" cy="1534697"/>
                    <a:chOff x="701247" y="4298873"/>
                    <a:chExt cx="10797706" cy="1534697"/>
                  </a:xfrm>
                </p:grpSpPr>
                <p:sp>
                  <p:nvSpPr>
                    <p:cNvPr id="36" name="Rounded Rectangle 35">
                      <a:extLst>
                        <a:ext uri="{FF2B5EF4-FFF2-40B4-BE49-F238E27FC236}">
                          <a16:creationId xmlns:a16="http://schemas.microsoft.com/office/drawing/2014/main" id="{D542ED15-4EFE-9108-F75F-95E8A3B63A7F}"/>
                        </a:ext>
                      </a:extLst>
                    </p:cNvPr>
                    <p:cNvSpPr/>
                    <p:nvPr/>
                  </p:nvSpPr>
                  <p:spPr>
                    <a:xfrm>
                      <a:off x="701247" y="4298873"/>
                      <a:ext cx="1731897" cy="1534697"/>
                    </a:xfrm>
                    <a:prstGeom prst="roundRect">
                      <a:avLst/>
                    </a:prstGeom>
                    <a:noFill/>
                    <a:ln>
                      <a:solidFill>
                        <a:srgbClr val="F0C7D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1000">
                          <a:solidFill>
                            <a:schemeClr val="tx1"/>
                          </a:solidFill>
                        </a:rPr>
                        <a:t>Zero autonomy – AP system operator performs all tasks.</a:t>
                      </a:r>
                    </a:p>
                  </p:txBody>
                </p:sp>
                <p:sp>
                  <p:nvSpPr>
                    <p:cNvPr id="39" name="Rounded Rectangle 38">
                      <a:extLst>
                        <a:ext uri="{FF2B5EF4-FFF2-40B4-BE49-F238E27FC236}">
                          <a16:creationId xmlns:a16="http://schemas.microsoft.com/office/drawing/2014/main" id="{D1BA8166-4BCC-8027-FBD4-0A8DACDAF55B}"/>
                        </a:ext>
                      </a:extLst>
                    </p:cNvPr>
                    <p:cNvSpPr/>
                    <p:nvPr/>
                  </p:nvSpPr>
                  <p:spPr>
                    <a:xfrm>
                      <a:off x="2508565" y="4298873"/>
                      <a:ext cx="1731897" cy="1534697"/>
                    </a:xfrm>
                    <a:prstGeom prst="roundRect">
                      <a:avLst/>
                    </a:prstGeom>
                    <a:noFill/>
                    <a:ln>
                      <a:solidFill>
                        <a:srgbClr val="FDE7D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1000">
                          <a:solidFill>
                            <a:schemeClr val="tx1"/>
                          </a:solidFill>
                        </a:rPr>
                        <a:t>AP System controlled and operated by finance person but offers assist features.</a:t>
                      </a:r>
                    </a:p>
                  </p:txBody>
                </p:sp>
                <p:sp>
                  <p:nvSpPr>
                    <p:cNvPr id="40" name="Rounded Rectangle 39">
                      <a:extLst>
                        <a:ext uri="{FF2B5EF4-FFF2-40B4-BE49-F238E27FC236}">
                          <a16:creationId xmlns:a16="http://schemas.microsoft.com/office/drawing/2014/main" id="{807E2D87-83BB-3377-B309-8D6122458432}"/>
                        </a:ext>
                      </a:extLst>
                    </p:cNvPr>
                    <p:cNvSpPr/>
                    <p:nvPr/>
                  </p:nvSpPr>
                  <p:spPr>
                    <a:xfrm>
                      <a:off x="4324083" y="4298873"/>
                      <a:ext cx="1731897" cy="1534697"/>
                    </a:xfrm>
                    <a:prstGeom prst="roundRect">
                      <a:avLst/>
                    </a:prstGeom>
                    <a:noFill/>
                    <a:ln>
                      <a:solidFill>
                        <a:srgbClr val="FDE7D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1000">
                          <a:solidFill>
                            <a:schemeClr val="tx1"/>
                          </a:solidFill>
                        </a:rPr>
                        <a:t>Automation available in parts of AP process from exchanging invoices to extracting invoice data but AP operator must always monitor transactions.</a:t>
                      </a:r>
                    </a:p>
                  </p:txBody>
                </p:sp>
                <p:sp>
                  <p:nvSpPr>
                    <p:cNvPr id="41" name="Rounded Rectangle 40">
                      <a:extLst>
                        <a:ext uri="{FF2B5EF4-FFF2-40B4-BE49-F238E27FC236}">
                          <a16:creationId xmlns:a16="http://schemas.microsoft.com/office/drawing/2014/main" id="{45C6482E-22D5-46CB-1352-03DB2FBE10B3}"/>
                        </a:ext>
                      </a:extLst>
                    </p:cNvPr>
                    <p:cNvSpPr/>
                    <p:nvPr/>
                  </p:nvSpPr>
                  <p:spPr>
                    <a:xfrm>
                      <a:off x="6141911" y="4298873"/>
                      <a:ext cx="1731897" cy="1534697"/>
                    </a:xfrm>
                    <a:prstGeom prst="roundRect">
                      <a:avLst/>
                    </a:prstGeom>
                    <a:noFill/>
                    <a:ln>
                      <a:solidFill>
                        <a:srgbClr val="FDE7D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1000">
                          <a:solidFill>
                            <a:schemeClr val="tx1"/>
                          </a:solidFill>
                        </a:rPr>
                        <a:t>Certain suppliers and invoices are automated.</a:t>
                      </a:r>
                    </a:p>
                    <a:p>
                      <a:pPr marL="171450" indent="-171450">
                        <a:buFont typeface="Wingdings" pitchFamily="2" charset="2"/>
                        <a:buChar char="§"/>
                      </a:pPr>
                      <a:r>
                        <a:rPr lang="en-US" sz="1000">
                          <a:solidFill>
                            <a:schemeClr val="tx1"/>
                          </a:solidFill>
                        </a:rPr>
                        <a:t>Operator and analyst must be ready to intervene and manually perform tasks.</a:t>
                      </a:r>
                    </a:p>
                  </p:txBody>
                </p:sp>
                <p:sp>
                  <p:nvSpPr>
                    <p:cNvPr id="43" name="Rounded Rectangle 42">
                      <a:extLst>
                        <a:ext uri="{FF2B5EF4-FFF2-40B4-BE49-F238E27FC236}">
                          <a16:creationId xmlns:a16="http://schemas.microsoft.com/office/drawing/2014/main" id="{7198D77E-1D65-5572-E36A-7E87A09752E6}"/>
                        </a:ext>
                      </a:extLst>
                    </p:cNvPr>
                    <p:cNvSpPr/>
                    <p:nvPr/>
                  </p:nvSpPr>
                  <p:spPr>
                    <a:xfrm>
                      <a:off x="7946283" y="4298873"/>
                      <a:ext cx="1731897" cy="1534697"/>
                    </a:xfrm>
                    <a:prstGeom prst="roundRect">
                      <a:avLst/>
                    </a:prstGeom>
                    <a:noFill/>
                    <a:ln>
                      <a:solidFill>
                        <a:srgbClr val="C6F5E9"/>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1000">
                          <a:solidFill>
                            <a:schemeClr val="tx1"/>
                          </a:solidFill>
                        </a:rPr>
                        <a:t>AI reads, understands, and makes independent decisions based on deep finance expertise and company AP policies.</a:t>
                      </a:r>
                    </a:p>
                    <a:p>
                      <a:pPr marL="171450" indent="-171450">
                        <a:buFont typeface="Wingdings" pitchFamily="2" charset="2"/>
                        <a:buChar char="§"/>
                      </a:pPr>
                      <a:r>
                        <a:rPr lang="en-US" sz="1000">
                          <a:solidFill>
                            <a:schemeClr val="tx1"/>
                          </a:solidFill>
                        </a:rPr>
                        <a:t>AP team has option to intervene.</a:t>
                      </a:r>
                    </a:p>
                  </p:txBody>
                </p:sp>
                <p:sp>
                  <p:nvSpPr>
                    <p:cNvPr id="45" name="Rounded Rectangle 44">
                      <a:extLst>
                        <a:ext uri="{FF2B5EF4-FFF2-40B4-BE49-F238E27FC236}">
                          <a16:creationId xmlns:a16="http://schemas.microsoft.com/office/drawing/2014/main" id="{29C2E5A6-8AAA-B69E-3B99-C4D345896304}"/>
                        </a:ext>
                      </a:extLst>
                    </p:cNvPr>
                    <p:cNvSpPr/>
                    <p:nvPr/>
                  </p:nvSpPr>
                  <p:spPr>
                    <a:xfrm>
                      <a:off x="9767056" y="4298873"/>
                      <a:ext cx="1731897" cy="1534697"/>
                    </a:xfrm>
                    <a:prstGeom prst="roundRect">
                      <a:avLst/>
                    </a:prstGeom>
                    <a:noFill/>
                    <a:ln>
                      <a:solidFill>
                        <a:srgbClr val="AEE7D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Wingdings" pitchFamily="2" charset="2"/>
                        <a:buChar char="§"/>
                      </a:pPr>
                      <a:r>
                        <a:rPr lang="en-US" sz="1000">
                          <a:solidFill>
                            <a:schemeClr val="tx1"/>
                          </a:solidFill>
                        </a:rPr>
                        <a:t>AP function runs 100% on its own without human interaction – requires to-be-developed future AI.</a:t>
                      </a:r>
                    </a:p>
                  </p:txBody>
                </p:sp>
              </p:grpSp>
            </p:grpSp>
            <p:grpSp>
              <p:nvGrpSpPr>
                <p:cNvPr id="63" name="Group 62">
                  <a:extLst>
                    <a:ext uri="{FF2B5EF4-FFF2-40B4-BE49-F238E27FC236}">
                      <a16:creationId xmlns:a16="http://schemas.microsoft.com/office/drawing/2014/main" id="{AC853A41-D995-75E7-5664-73604CB7E8B3}"/>
                    </a:ext>
                  </a:extLst>
                </p:cNvPr>
                <p:cNvGrpSpPr/>
                <p:nvPr/>
              </p:nvGrpSpPr>
              <p:grpSpPr>
                <a:xfrm>
                  <a:off x="793755" y="5496456"/>
                  <a:ext cx="10789506" cy="307441"/>
                  <a:chOff x="701247" y="3313321"/>
                  <a:chExt cx="10789506" cy="307441"/>
                </a:xfrm>
              </p:grpSpPr>
              <p:cxnSp>
                <p:nvCxnSpPr>
                  <p:cNvPr id="49" name="Straight Arrow Connector 48">
                    <a:extLst>
                      <a:ext uri="{FF2B5EF4-FFF2-40B4-BE49-F238E27FC236}">
                        <a16:creationId xmlns:a16="http://schemas.microsoft.com/office/drawing/2014/main" id="{150AC2EB-446F-1B5A-027F-2C3FD855FB99}"/>
                      </a:ext>
                    </a:extLst>
                  </p:cNvPr>
                  <p:cNvCxnSpPr>
                    <a:cxnSpLocks/>
                  </p:cNvCxnSpPr>
                  <p:nvPr/>
                </p:nvCxnSpPr>
                <p:spPr>
                  <a:xfrm>
                    <a:off x="701247" y="3467041"/>
                    <a:ext cx="10789506" cy="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2" name="Rounded Rectangle 51">
                    <a:extLst>
                      <a:ext uri="{FF2B5EF4-FFF2-40B4-BE49-F238E27FC236}">
                        <a16:creationId xmlns:a16="http://schemas.microsoft.com/office/drawing/2014/main" id="{5752918C-E0DC-3853-537D-10D995703A3E}"/>
                      </a:ext>
                    </a:extLst>
                  </p:cNvPr>
                  <p:cNvSpPr/>
                  <p:nvPr/>
                </p:nvSpPr>
                <p:spPr>
                  <a:xfrm>
                    <a:off x="3577605" y="3313321"/>
                    <a:ext cx="5036790" cy="307441"/>
                  </a:xfrm>
                  <a:prstGeom prst="round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accent5"/>
                        </a:solidFill>
                      </a:rPr>
                      <a:t>Finance Transformation Journey</a:t>
                    </a:r>
                  </a:p>
                </p:txBody>
              </p:sp>
            </p:grpSp>
            <p:sp>
              <p:nvSpPr>
                <p:cNvPr id="66" name="TextBox 65">
                  <a:extLst>
                    <a:ext uri="{FF2B5EF4-FFF2-40B4-BE49-F238E27FC236}">
                      <a16:creationId xmlns:a16="http://schemas.microsoft.com/office/drawing/2014/main" id="{FEF2B816-8AEA-FA69-7BC1-83A61F26F0F2}"/>
                    </a:ext>
                  </a:extLst>
                </p:cNvPr>
                <p:cNvSpPr txBox="1"/>
                <p:nvPr/>
              </p:nvSpPr>
              <p:spPr>
                <a:xfrm>
                  <a:off x="739961" y="5948853"/>
                  <a:ext cx="7516080" cy="184666"/>
                </a:xfrm>
                <a:prstGeom prst="rect">
                  <a:avLst/>
                </a:prstGeom>
                <a:noFill/>
              </p:spPr>
              <p:txBody>
                <a:bodyPr wrap="square" rtlCol="0">
                  <a:spAutoFit/>
                </a:bodyPr>
                <a:lstStyle/>
                <a:p>
                  <a:pPr algn="l"/>
                  <a:r>
                    <a:rPr lang="en-US" sz="600">
                      <a:solidFill>
                        <a:schemeClr val="bg1">
                          <a:lumMod val="50000"/>
                        </a:schemeClr>
                      </a:solidFill>
                      <a:latin typeface="Open Sauce One" pitchFamily="2" charset="0"/>
                    </a:rPr>
                    <a:t>Note: Autonomous Index adopted from </a:t>
                  </a:r>
                  <a:r>
                    <a:rPr lang="en-US" sz="600" err="1">
                      <a:solidFill>
                        <a:schemeClr val="bg1">
                          <a:lumMod val="50000"/>
                        </a:schemeClr>
                      </a:solidFill>
                      <a:latin typeface="Open Sauce One" pitchFamily="2" charset="0"/>
                    </a:rPr>
                    <a:t>Appzen</a:t>
                  </a:r>
                  <a:r>
                    <a:rPr lang="en-US" sz="600">
                      <a:solidFill>
                        <a:schemeClr val="bg1">
                          <a:lumMod val="50000"/>
                        </a:schemeClr>
                      </a:solidFill>
                      <a:latin typeface="Open Sauce One" pitchFamily="2" charset="0"/>
                    </a:rPr>
                    <a:t> </a:t>
                  </a:r>
                </a:p>
              </p:txBody>
            </p:sp>
            <p:sp>
              <p:nvSpPr>
                <p:cNvPr id="5" name="Rounded Rectangle 4">
                  <a:extLst>
                    <a:ext uri="{FF2B5EF4-FFF2-40B4-BE49-F238E27FC236}">
                      <a16:creationId xmlns:a16="http://schemas.microsoft.com/office/drawing/2014/main" id="{C85620A9-EF7D-60A1-3C46-1EBF9C1A7077}"/>
                    </a:ext>
                  </a:extLst>
                </p:cNvPr>
                <p:cNvSpPr/>
                <p:nvPr/>
              </p:nvSpPr>
              <p:spPr>
                <a:xfrm>
                  <a:off x="720182" y="2562614"/>
                  <a:ext cx="1723697" cy="517065"/>
                </a:xfrm>
                <a:prstGeom prst="roundRect">
                  <a:avLst/>
                </a:prstGeom>
                <a:solidFill>
                  <a:schemeClr val="bg1"/>
                </a:solidFill>
                <a:ln>
                  <a:solidFill>
                    <a:srgbClr val="F0C7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6" name="Rounded Rectangle 5">
                  <a:extLst>
                    <a:ext uri="{FF2B5EF4-FFF2-40B4-BE49-F238E27FC236}">
                      <a16:creationId xmlns:a16="http://schemas.microsoft.com/office/drawing/2014/main" id="{B65C5A80-976B-81A5-41C9-770E31207967}"/>
                    </a:ext>
                  </a:extLst>
                </p:cNvPr>
                <p:cNvSpPr/>
                <p:nvPr/>
              </p:nvSpPr>
              <p:spPr>
                <a:xfrm>
                  <a:off x="2532755" y="2562614"/>
                  <a:ext cx="1723697" cy="517065"/>
                </a:xfrm>
                <a:prstGeom prst="roundRect">
                  <a:avLst/>
                </a:prstGeom>
                <a:solidFill>
                  <a:schemeClr val="bg1"/>
                </a:solidFill>
                <a:ln>
                  <a:solidFill>
                    <a:srgbClr val="FDE7D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7" name="Rounded Rectangle 6">
                  <a:extLst>
                    <a:ext uri="{FF2B5EF4-FFF2-40B4-BE49-F238E27FC236}">
                      <a16:creationId xmlns:a16="http://schemas.microsoft.com/office/drawing/2014/main" id="{07633EA2-CEB3-AAB2-FB4A-CD35D00006EA}"/>
                    </a:ext>
                  </a:extLst>
                </p:cNvPr>
                <p:cNvSpPr/>
                <p:nvPr/>
              </p:nvSpPr>
              <p:spPr>
                <a:xfrm>
                  <a:off x="4345328" y="2562614"/>
                  <a:ext cx="1723697" cy="517065"/>
                </a:xfrm>
                <a:prstGeom prst="roundRect">
                  <a:avLst/>
                </a:prstGeom>
                <a:solidFill>
                  <a:schemeClr val="bg1"/>
                </a:solidFill>
                <a:ln>
                  <a:solidFill>
                    <a:srgbClr val="FDE7D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8" name="Rounded Rectangle 7">
                  <a:extLst>
                    <a:ext uri="{FF2B5EF4-FFF2-40B4-BE49-F238E27FC236}">
                      <a16:creationId xmlns:a16="http://schemas.microsoft.com/office/drawing/2014/main" id="{86C6D7EB-9458-A187-3CA9-4FE84AFA49A7}"/>
                    </a:ext>
                  </a:extLst>
                </p:cNvPr>
                <p:cNvSpPr/>
                <p:nvPr/>
              </p:nvSpPr>
              <p:spPr>
                <a:xfrm>
                  <a:off x="6157901" y="2562614"/>
                  <a:ext cx="1723697" cy="517065"/>
                </a:xfrm>
                <a:prstGeom prst="roundRect">
                  <a:avLst/>
                </a:prstGeom>
                <a:solidFill>
                  <a:schemeClr val="bg1"/>
                </a:solidFill>
                <a:ln>
                  <a:solidFill>
                    <a:srgbClr val="FDE7D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9" name="Rounded Rectangle 8">
                  <a:extLst>
                    <a:ext uri="{FF2B5EF4-FFF2-40B4-BE49-F238E27FC236}">
                      <a16:creationId xmlns:a16="http://schemas.microsoft.com/office/drawing/2014/main" id="{B287079C-BEB9-0280-8F76-698CAEE330DE}"/>
                    </a:ext>
                  </a:extLst>
                </p:cNvPr>
                <p:cNvSpPr/>
                <p:nvPr/>
              </p:nvSpPr>
              <p:spPr>
                <a:xfrm>
                  <a:off x="7970474" y="2562614"/>
                  <a:ext cx="1723697" cy="517065"/>
                </a:xfrm>
                <a:prstGeom prst="roundRect">
                  <a:avLst/>
                </a:prstGeom>
                <a:solidFill>
                  <a:schemeClr val="bg1"/>
                </a:solidFill>
                <a:ln>
                  <a:solidFill>
                    <a:srgbClr val="C6F5E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11" name="TextBox 10">
                  <a:extLst>
                    <a:ext uri="{FF2B5EF4-FFF2-40B4-BE49-F238E27FC236}">
                      <a16:creationId xmlns:a16="http://schemas.microsoft.com/office/drawing/2014/main" id="{6D1CC5A4-EC4B-6627-0734-AA59B48EFF90}"/>
                    </a:ext>
                  </a:extLst>
                </p:cNvPr>
                <p:cNvSpPr txBox="1"/>
                <p:nvPr/>
              </p:nvSpPr>
              <p:spPr>
                <a:xfrm>
                  <a:off x="793755" y="2571078"/>
                  <a:ext cx="578069" cy="500137"/>
                </a:xfrm>
                <a:prstGeom prst="rect">
                  <a:avLst/>
                </a:prstGeom>
                <a:noFill/>
              </p:spPr>
              <p:txBody>
                <a:bodyPr wrap="square" rtlCol="0">
                  <a:spAutoFit/>
                </a:bodyPr>
                <a:lstStyle/>
                <a:p>
                  <a:pPr algn="ctr"/>
                  <a:r>
                    <a:rPr lang="en-US" sz="1050">
                      <a:latin typeface="Open Sauce One" pitchFamily="2" charset="0"/>
                    </a:rPr>
                    <a:t>Level</a:t>
                  </a:r>
                </a:p>
                <a:p>
                  <a:pPr algn="ctr"/>
                  <a:r>
                    <a:rPr lang="en-US" sz="1600">
                      <a:latin typeface="Open Sauce One" pitchFamily="2" charset="0"/>
                    </a:rPr>
                    <a:t>0</a:t>
                  </a:r>
                </a:p>
              </p:txBody>
            </p:sp>
            <p:sp>
              <p:nvSpPr>
                <p:cNvPr id="12" name="TextBox 11">
                  <a:extLst>
                    <a:ext uri="{FF2B5EF4-FFF2-40B4-BE49-F238E27FC236}">
                      <a16:creationId xmlns:a16="http://schemas.microsoft.com/office/drawing/2014/main" id="{799B1FC0-40B5-34FD-C602-465B68660D87}"/>
                    </a:ext>
                  </a:extLst>
                </p:cNvPr>
                <p:cNvSpPr txBox="1"/>
                <p:nvPr/>
              </p:nvSpPr>
              <p:spPr>
                <a:xfrm>
                  <a:off x="8007260" y="2571078"/>
                  <a:ext cx="578069" cy="500137"/>
                </a:xfrm>
                <a:prstGeom prst="rect">
                  <a:avLst/>
                </a:prstGeom>
                <a:noFill/>
              </p:spPr>
              <p:txBody>
                <a:bodyPr wrap="square" rtlCol="0">
                  <a:spAutoFit/>
                </a:bodyPr>
                <a:lstStyle/>
                <a:p>
                  <a:pPr algn="ctr"/>
                  <a:r>
                    <a:rPr lang="en-US" sz="1050">
                      <a:latin typeface="Open Sauce One" pitchFamily="2" charset="0"/>
                    </a:rPr>
                    <a:t>Level</a:t>
                  </a:r>
                </a:p>
                <a:p>
                  <a:pPr algn="ctr"/>
                  <a:r>
                    <a:rPr lang="en-US" sz="1600">
                      <a:latin typeface="Open Sauce One" pitchFamily="2" charset="0"/>
                    </a:rPr>
                    <a:t>4</a:t>
                  </a:r>
                </a:p>
              </p:txBody>
            </p:sp>
            <p:sp>
              <p:nvSpPr>
                <p:cNvPr id="13" name="TextBox 12">
                  <a:extLst>
                    <a:ext uri="{FF2B5EF4-FFF2-40B4-BE49-F238E27FC236}">
                      <a16:creationId xmlns:a16="http://schemas.microsoft.com/office/drawing/2014/main" id="{B5DB4EAF-05CB-E476-762A-F7AC722EDBD4}"/>
                    </a:ext>
                  </a:extLst>
                </p:cNvPr>
                <p:cNvSpPr txBox="1"/>
                <p:nvPr/>
              </p:nvSpPr>
              <p:spPr>
                <a:xfrm>
                  <a:off x="6152646" y="2571078"/>
                  <a:ext cx="578069" cy="500137"/>
                </a:xfrm>
                <a:prstGeom prst="rect">
                  <a:avLst/>
                </a:prstGeom>
                <a:noFill/>
              </p:spPr>
              <p:txBody>
                <a:bodyPr wrap="square" rtlCol="0">
                  <a:spAutoFit/>
                </a:bodyPr>
                <a:lstStyle/>
                <a:p>
                  <a:pPr algn="ctr"/>
                  <a:r>
                    <a:rPr lang="en-US" sz="1050">
                      <a:latin typeface="Open Sauce One" pitchFamily="2" charset="0"/>
                    </a:rPr>
                    <a:t>Level</a:t>
                  </a:r>
                </a:p>
                <a:p>
                  <a:pPr algn="ctr"/>
                  <a:r>
                    <a:rPr lang="en-US" sz="1600">
                      <a:latin typeface="Open Sauce One" pitchFamily="2" charset="0"/>
                    </a:rPr>
                    <a:t>3</a:t>
                  </a:r>
                </a:p>
              </p:txBody>
            </p:sp>
            <p:sp>
              <p:nvSpPr>
                <p:cNvPr id="14" name="TextBox 13">
                  <a:extLst>
                    <a:ext uri="{FF2B5EF4-FFF2-40B4-BE49-F238E27FC236}">
                      <a16:creationId xmlns:a16="http://schemas.microsoft.com/office/drawing/2014/main" id="{1AA2DDA7-5CBF-6F94-972B-7D1932059A33}"/>
                    </a:ext>
                  </a:extLst>
                </p:cNvPr>
                <p:cNvSpPr txBox="1"/>
                <p:nvPr/>
              </p:nvSpPr>
              <p:spPr>
                <a:xfrm>
                  <a:off x="4378705" y="2571078"/>
                  <a:ext cx="578069" cy="500137"/>
                </a:xfrm>
                <a:prstGeom prst="rect">
                  <a:avLst/>
                </a:prstGeom>
                <a:noFill/>
              </p:spPr>
              <p:txBody>
                <a:bodyPr wrap="square" rtlCol="0">
                  <a:spAutoFit/>
                </a:bodyPr>
                <a:lstStyle/>
                <a:p>
                  <a:pPr algn="ctr"/>
                  <a:r>
                    <a:rPr lang="en-US" sz="1050">
                      <a:latin typeface="Open Sauce One" pitchFamily="2" charset="0"/>
                    </a:rPr>
                    <a:t>Level</a:t>
                  </a:r>
                </a:p>
                <a:p>
                  <a:pPr algn="ctr"/>
                  <a:r>
                    <a:rPr lang="en-US" sz="1600">
                      <a:latin typeface="Open Sauce One" pitchFamily="2" charset="0"/>
                    </a:rPr>
                    <a:t>2</a:t>
                  </a:r>
                </a:p>
              </p:txBody>
            </p:sp>
            <p:sp>
              <p:nvSpPr>
                <p:cNvPr id="15" name="TextBox 14">
                  <a:extLst>
                    <a:ext uri="{FF2B5EF4-FFF2-40B4-BE49-F238E27FC236}">
                      <a16:creationId xmlns:a16="http://schemas.microsoft.com/office/drawing/2014/main" id="{817C5C26-FC2C-B0D6-4954-209560A48E69}"/>
                    </a:ext>
                  </a:extLst>
                </p:cNvPr>
                <p:cNvSpPr txBox="1"/>
                <p:nvPr/>
              </p:nvSpPr>
              <p:spPr>
                <a:xfrm>
                  <a:off x="2569541" y="2571078"/>
                  <a:ext cx="578069" cy="500137"/>
                </a:xfrm>
                <a:prstGeom prst="rect">
                  <a:avLst/>
                </a:prstGeom>
                <a:noFill/>
              </p:spPr>
              <p:txBody>
                <a:bodyPr wrap="square" rtlCol="0">
                  <a:spAutoFit/>
                </a:bodyPr>
                <a:lstStyle/>
                <a:p>
                  <a:pPr algn="ctr"/>
                  <a:r>
                    <a:rPr lang="en-US" sz="1050">
                      <a:latin typeface="Open Sauce One" pitchFamily="2" charset="0"/>
                    </a:rPr>
                    <a:t>Level</a:t>
                  </a:r>
                </a:p>
                <a:p>
                  <a:pPr algn="ctr"/>
                  <a:r>
                    <a:rPr lang="en-US" sz="1600">
                      <a:latin typeface="Open Sauce One" pitchFamily="2" charset="0"/>
                    </a:rPr>
                    <a:t>1</a:t>
                  </a:r>
                </a:p>
              </p:txBody>
            </p:sp>
            <p:sp>
              <p:nvSpPr>
                <p:cNvPr id="16" name="Rounded Rectangle 15">
                  <a:extLst>
                    <a:ext uri="{FF2B5EF4-FFF2-40B4-BE49-F238E27FC236}">
                      <a16:creationId xmlns:a16="http://schemas.microsoft.com/office/drawing/2014/main" id="{E1C7091E-A617-21AD-F685-47EB23CD60C8}"/>
                    </a:ext>
                  </a:extLst>
                </p:cNvPr>
                <p:cNvSpPr/>
                <p:nvPr/>
              </p:nvSpPr>
              <p:spPr>
                <a:xfrm>
                  <a:off x="9783046" y="2562614"/>
                  <a:ext cx="1723697" cy="517065"/>
                </a:xfrm>
                <a:prstGeom prst="roundRect">
                  <a:avLst/>
                </a:prstGeom>
                <a:solidFill>
                  <a:schemeClr val="bg1"/>
                </a:solidFill>
                <a:ln>
                  <a:solidFill>
                    <a:srgbClr val="AEE7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17" name="TextBox 16">
                  <a:extLst>
                    <a:ext uri="{FF2B5EF4-FFF2-40B4-BE49-F238E27FC236}">
                      <a16:creationId xmlns:a16="http://schemas.microsoft.com/office/drawing/2014/main" id="{6662703A-6BF0-B05D-09CD-871773639C78}"/>
                    </a:ext>
                  </a:extLst>
                </p:cNvPr>
                <p:cNvSpPr txBox="1"/>
                <p:nvPr/>
              </p:nvSpPr>
              <p:spPr>
                <a:xfrm>
                  <a:off x="9815407" y="2571078"/>
                  <a:ext cx="578069" cy="500137"/>
                </a:xfrm>
                <a:prstGeom prst="rect">
                  <a:avLst/>
                </a:prstGeom>
                <a:noFill/>
              </p:spPr>
              <p:txBody>
                <a:bodyPr wrap="square" rtlCol="0">
                  <a:spAutoFit/>
                </a:bodyPr>
                <a:lstStyle/>
                <a:p>
                  <a:pPr algn="ctr"/>
                  <a:r>
                    <a:rPr lang="en-US" sz="1050">
                      <a:latin typeface="Open Sauce One" pitchFamily="2" charset="0"/>
                    </a:rPr>
                    <a:t>Level</a:t>
                  </a:r>
                </a:p>
                <a:p>
                  <a:pPr algn="ctr"/>
                  <a:r>
                    <a:rPr lang="en-US" sz="1600">
                      <a:latin typeface="Open Sauce One" pitchFamily="2" charset="0"/>
                    </a:rPr>
                    <a:t>5</a:t>
                  </a:r>
                </a:p>
              </p:txBody>
            </p:sp>
            <p:cxnSp>
              <p:nvCxnSpPr>
                <p:cNvPr id="20" name="Straight Connector 19">
                  <a:extLst>
                    <a:ext uri="{FF2B5EF4-FFF2-40B4-BE49-F238E27FC236}">
                      <a16:creationId xmlns:a16="http://schemas.microsoft.com/office/drawing/2014/main" id="{3EDF3BED-D046-E5E3-67E6-71F3DC8364C9}"/>
                    </a:ext>
                  </a:extLst>
                </p:cNvPr>
                <p:cNvCxnSpPr>
                  <a:cxnSpLocks/>
                </p:cNvCxnSpPr>
                <p:nvPr/>
              </p:nvCxnSpPr>
              <p:spPr>
                <a:xfrm>
                  <a:off x="3147610" y="2582852"/>
                  <a:ext cx="0" cy="476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3511823-7878-605C-AB04-F2CAD5C59CE9}"/>
                    </a:ext>
                  </a:extLst>
                </p:cNvPr>
                <p:cNvCxnSpPr>
                  <a:cxnSpLocks/>
                </p:cNvCxnSpPr>
                <p:nvPr/>
              </p:nvCxnSpPr>
              <p:spPr>
                <a:xfrm>
                  <a:off x="4951056" y="2582852"/>
                  <a:ext cx="0" cy="476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0B4AADA-F9FF-1708-ADD2-D92639E0D5D7}"/>
                    </a:ext>
                  </a:extLst>
                </p:cNvPr>
                <p:cNvCxnSpPr>
                  <a:cxnSpLocks/>
                </p:cNvCxnSpPr>
                <p:nvPr/>
              </p:nvCxnSpPr>
              <p:spPr>
                <a:xfrm>
                  <a:off x="6720664" y="2578539"/>
                  <a:ext cx="0" cy="476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5E86833-B974-452A-3C34-DBBB75267B6A}"/>
                    </a:ext>
                  </a:extLst>
                </p:cNvPr>
                <p:cNvCxnSpPr>
                  <a:cxnSpLocks/>
                </p:cNvCxnSpPr>
                <p:nvPr/>
              </p:nvCxnSpPr>
              <p:spPr>
                <a:xfrm>
                  <a:off x="8502167" y="2582852"/>
                  <a:ext cx="0" cy="476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F9DE5E-7B00-4DC3-D70D-77446EAC43FE}"/>
                    </a:ext>
                  </a:extLst>
                </p:cNvPr>
                <p:cNvCxnSpPr>
                  <a:cxnSpLocks/>
                </p:cNvCxnSpPr>
                <p:nvPr/>
              </p:nvCxnSpPr>
              <p:spPr>
                <a:xfrm>
                  <a:off x="10393476" y="2582852"/>
                  <a:ext cx="0" cy="476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38DF3483-E823-0853-B575-66E0D976BF93}"/>
                    </a:ext>
                  </a:extLst>
                </p:cNvPr>
                <p:cNvGrpSpPr/>
                <p:nvPr/>
              </p:nvGrpSpPr>
              <p:grpSpPr>
                <a:xfrm>
                  <a:off x="8298374" y="1287844"/>
                  <a:ext cx="1723696" cy="751159"/>
                  <a:chOff x="7954482" y="1876572"/>
                  <a:chExt cx="1723696" cy="751159"/>
                </a:xfrm>
              </p:grpSpPr>
              <p:sp>
                <p:nvSpPr>
                  <p:cNvPr id="57" name="Lekerekített téglalap 58">
                    <a:extLst>
                      <a:ext uri="{FF2B5EF4-FFF2-40B4-BE49-F238E27FC236}">
                        <a16:creationId xmlns:a16="http://schemas.microsoft.com/office/drawing/2014/main" id="{010BB20E-8D38-F679-D59B-14DFB3752DC9}"/>
                      </a:ext>
                    </a:extLst>
                  </p:cNvPr>
                  <p:cNvSpPr/>
                  <p:nvPr/>
                </p:nvSpPr>
                <p:spPr>
                  <a:xfrm rot="5400000">
                    <a:off x="8532985" y="1298071"/>
                    <a:ext cx="566690" cy="1723696"/>
                  </a:xfrm>
                  <a:prstGeom prst="roundRect">
                    <a:avLst/>
                  </a:prstGeom>
                  <a:noFill/>
                  <a:ln>
                    <a:gradFill>
                      <a:gsLst>
                        <a:gs pos="38000">
                          <a:schemeClr val="accent3"/>
                        </a:gs>
                        <a:gs pos="100000">
                          <a:schemeClr val="accent4"/>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pic>
                <p:nvPicPr>
                  <p:cNvPr id="58" name="Ábra 26">
                    <a:extLst>
                      <a:ext uri="{FF2B5EF4-FFF2-40B4-BE49-F238E27FC236}">
                        <a16:creationId xmlns:a16="http://schemas.microsoft.com/office/drawing/2014/main" id="{7686A535-1032-307C-15EE-61872D4DBC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72166" y="1876572"/>
                    <a:ext cx="1288327" cy="445546"/>
                  </a:xfrm>
                  <a:prstGeom prst="rect">
                    <a:avLst/>
                  </a:prstGeom>
                </p:spPr>
              </p:pic>
              <p:cxnSp>
                <p:nvCxnSpPr>
                  <p:cNvPr id="65" name="Straight Arrow Connector 64">
                    <a:extLst>
                      <a:ext uri="{FF2B5EF4-FFF2-40B4-BE49-F238E27FC236}">
                        <a16:creationId xmlns:a16="http://schemas.microsoft.com/office/drawing/2014/main" id="{0384C089-5696-3FC9-651C-2C136D0C2119}"/>
                      </a:ext>
                    </a:extLst>
                  </p:cNvPr>
                  <p:cNvCxnSpPr>
                    <a:cxnSpLocks/>
                    <a:endCxn id="58" idx="2"/>
                  </p:cNvCxnSpPr>
                  <p:nvPr/>
                </p:nvCxnSpPr>
                <p:spPr>
                  <a:xfrm flipV="1">
                    <a:off x="8816330" y="2322118"/>
                    <a:ext cx="0" cy="305613"/>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B5ACB925-C164-FABF-8A30-BD6A8C42826F}"/>
                    </a:ext>
                  </a:extLst>
                </p:cNvPr>
                <p:cNvGrpSpPr/>
                <p:nvPr/>
              </p:nvGrpSpPr>
              <p:grpSpPr>
                <a:xfrm>
                  <a:off x="1470697" y="2155922"/>
                  <a:ext cx="964250" cy="855078"/>
                  <a:chOff x="1454707" y="2261027"/>
                  <a:chExt cx="964250" cy="855078"/>
                </a:xfrm>
              </p:grpSpPr>
              <p:sp>
                <p:nvSpPr>
                  <p:cNvPr id="48" name="Ellipszis 12">
                    <a:extLst>
                      <a:ext uri="{FF2B5EF4-FFF2-40B4-BE49-F238E27FC236}">
                        <a16:creationId xmlns:a16="http://schemas.microsoft.com/office/drawing/2014/main" id="{D36E8C71-EF0E-5777-6C81-749E2007C600}"/>
                      </a:ext>
                    </a:extLst>
                  </p:cNvPr>
                  <p:cNvSpPr/>
                  <p:nvPr/>
                </p:nvSpPr>
                <p:spPr>
                  <a:xfrm>
                    <a:off x="1506446" y="2261027"/>
                    <a:ext cx="855078" cy="855078"/>
                  </a:xfrm>
                  <a:prstGeom prst="ellipse">
                    <a:avLst/>
                  </a:prstGeom>
                  <a:solidFill>
                    <a:srgbClr val="F0C7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2"/>
                      </a:solidFill>
                      <a:latin typeface="Open Sauce One" pitchFamily="2" charset="0"/>
                    </a:endParaRPr>
                  </a:p>
                </p:txBody>
              </p:sp>
              <p:sp>
                <p:nvSpPr>
                  <p:cNvPr id="55" name="TextBox 54">
                    <a:extLst>
                      <a:ext uri="{FF2B5EF4-FFF2-40B4-BE49-F238E27FC236}">
                        <a16:creationId xmlns:a16="http://schemas.microsoft.com/office/drawing/2014/main" id="{4B465DDB-BEE0-A311-982A-3BE0D07A3E53}"/>
                      </a:ext>
                    </a:extLst>
                  </p:cNvPr>
                  <p:cNvSpPr txBox="1"/>
                  <p:nvPr/>
                </p:nvSpPr>
                <p:spPr>
                  <a:xfrm>
                    <a:off x="1454707" y="2537643"/>
                    <a:ext cx="964250" cy="307777"/>
                  </a:xfrm>
                  <a:prstGeom prst="rect">
                    <a:avLst/>
                  </a:prstGeom>
                  <a:noFill/>
                </p:spPr>
                <p:txBody>
                  <a:bodyPr wrap="square" rtlCol="0">
                    <a:spAutoFit/>
                  </a:bodyPr>
                  <a:lstStyle/>
                  <a:p>
                    <a:pPr algn="ctr"/>
                    <a:r>
                      <a:rPr lang="en-US" sz="1400">
                        <a:solidFill>
                          <a:schemeClr val="accent2"/>
                        </a:solidFill>
                        <a:latin typeface="Open Sauce One" pitchFamily="2" charset="0"/>
                      </a:rPr>
                      <a:t>Manuel</a:t>
                    </a:r>
                    <a:endParaRPr lang="en-US" sz="1000">
                      <a:solidFill>
                        <a:schemeClr val="accent2"/>
                      </a:solidFill>
                      <a:latin typeface="Open Sauce One" pitchFamily="2" charset="0"/>
                    </a:endParaRPr>
                  </a:p>
                </p:txBody>
              </p:sp>
            </p:grpSp>
            <p:grpSp>
              <p:nvGrpSpPr>
                <p:cNvPr id="67" name="Group 66">
                  <a:extLst>
                    <a:ext uri="{FF2B5EF4-FFF2-40B4-BE49-F238E27FC236}">
                      <a16:creationId xmlns:a16="http://schemas.microsoft.com/office/drawing/2014/main" id="{BC43F884-C68F-1A26-6941-5CBA4771C1D9}"/>
                    </a:ext>
                  </a:extLst>
                </p:cNvPr>
                <p:cNvGrpSpPr/>
                <p:nvPr/>
              </p:nvGrpSpPr>
              <p:grpSpPr>
                <a:xfrm>
                  <a:off x="3283950" y="2155922"/>
                  <a:ext cx="964250" cy="855078"/>
                  <a:chOff x="1433687" y="2316497"/>
                  <a:chExt cx="964250" cy="855078"/>
                </a:xfrm>
              </p:grpSpPr>
              <p:sp>
                <p:nvSpPr>
                  <p:cNvPr id="68" name="Ellipszis 12">
                    <a:extLst>
                      <a:ext uri="{FF2B5EF4-FFF2-40B4-BE49-F238E27FC236}">
                        <a16:creationId xmlns:a16="http://schemas.microsoft.com/office/drawing/2014/main" id="{522158C0-CB7E-CD02-7680-7DB78F6A17D1}"/>
                      </a:ext>
                    </a:extLst>
                  </p:cNvPr>
                  <p:cNvSpPr/>
                  <p:nvPr/>
                </p:nvSpPr>
                <p:spPr>
                  <a:xfrm>
                    <a:off x="1481958" y="2316497"/>
                    <a:ext cx="855078" cy="855078"/>
                  </a:xfrm>
                  <a:prstGeom prst="ellipse">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2"/>
                      </a:solidFill>
                      <a:latin typeface="Open Sauce One" pitchFamily="2" charset="0"/>
                    </a:endParaRPr>
                  </a:p>
                </p:txBody>
              </p:sp>
              <p:sp>
                <p:nvSpPr>
                  <p:cNvPr id="69" name="TextBox 68">
                    <a:extLst>
                      <a:ext uri="{FF2B5EF4-FFF2-40B4-BE49-F238E27FC236}">
                        <a16:creationId xmlns:a16="http://schemas.microsoft.com/office/drawing/2014/main" id="{DF387127-C513-D5C6-0804-CBEB92FD239B}"/>
                      </a:ext>
                    </a:extLst>
                  </p:cNvPr>
                  <p:cNvSpPr txBox="1"/>
                  <p:nvPr/>
                </p:nvSpPr>
                <p:spPr>
                  <a:xfrm>
                    <a:off x="1433687" y="2474585"/>
                    <a:ext cx="964250" cy="523220"/>
                  </a:xfrm>
                  <a:prstGeom prst="rect">
                    <a:avLst/>
                  </a:prstGeom>
                  <a:noFill/>
                </p:spPr>
                <p:txBody>
                  <a:bodyPr wrap="square" rtlCol="0">
                    <a:spAutoFit/>
                  </a:bodyPr>
                  <a:lstStyle/>
                  <a:p>
                    <a:pPr algn="ctr"/>
                    <a:r>
                      <a:rPr lang="en-US">
                        <a:solidFill>
                          <a:schemeClr val="accent2"/>
                        </a:solidFill>
                        <a:latin typeface="Open Sauce One" pitchFamily="2" charset="0"/>
                      </a:rPr>
                      <a:t>~20%</a:t>
                    </a:r>
                  </a:p>
                  <a:p>
                    <a:pPr algn="ctr"/>
                    <a:r>
                      <a:rPr lang="en-US" sz="900">
                        <a:solidFill>
                          <a:schemeClr val="accent2"/>
                        </a:solidFill>
                        <a:latin typeface="Open Sauce One" pitchFamily="2" charset="0"/>
                      </a:rPr>
                      <a:t>Assisted</a:t>
                    </a:r>
                    <a:endParaRPr lang="en-US" sz="1000">
                      <a:solidFill>
                        <a:schemeClr val="accent2"/>
                      </a:solidFill>
                      <a:latin typeface="Open Sauce One" pitchFamily="2" charset="0"/>
                    </a:endParaRPr>
                  </a:p>
                </p:txBody>
              </p:sp>
            </p:grpSp>
            <p:cxnSp>
              <p:nvCxnSpPr>
                <p:cNvPr id="70" name="Straight Connector 69">
                  <a:extLst>
                    <a:ext uri="{FF2B5EF4-FFF2-40B4-BE49-F238E27FC236}">
                      <a16:creationId xmlns:a16="http://schemas.microsoft.com/office/drawing/2014/main" id="{727D86EB-3467-5E2B-FC83-9D8951204088}"/>
                    </a:ext>
                  </a:extLst>
                </p:cNvPr>
                <p:cNvCxnSpPr>
                  <a:cxnSpLocks/>
                </p:cNvCxnSpPr>
                <p:nvPr/>
              </p:nvCxnSpPr>
              <p:spPr>
                <a:xfrm>
                  <a:off x="1371824" y="2578949"/>
                  <a:ext cx="0" cy="476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CA25A811-DC80-5544-E6D0-24422ADEA406}"/>
                    </a:ext>
                  </a:extLst>
                </p:cNvPr>
                <p:cNvGrpSpPr/>
                <p:nvPr/>
              </p:nvGrpSpPr>
              <p:grpSpPr>
                <a:xfrm>
                  <a:off x="5085867" y="2155922"/>
                  <a:ext cx="964250" cy="855078"/>
                  <a:chOff x="1402157" y="2312882"/>
                  <a:chExt cx="964250" cy="855078"/>
                </a:xfrm>
              </p:grpSpPr>
              <p:sp>
                <p:nvSpPr>
                  <p:cNvPr id="72" name="Ellipszis 12">
                    <a:extLst>
                      <a:ext uri="{FF2B5EF4-FFF2-40B4-BE49-F238E27FC236}">
                        <a16:creationId xmlns:a16="http://schemas.microsoft.com/office/drawing/2014/main" id="{5AE68416-3778-836F-9B50-E4090B695D3D}"/>
                      </a:ext>
                    </a:extLst>
                  </p:cNvPr>
                  <p:cNvSpPr/>
                  <p:nvPr/>
                </p:nvSpPr>
                <p:spPr>
                  <a:xfrm>
                    <a:off x="1458296" y="2312882"/>
                    <a:ext cx="855078" cy="855078"/>
                  </a:xfrm>
                  <a:prstGeom prst="ellipse">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2"/>
                      </a:solidFill>
                      <a:latin typeface="Open Sauce One" pitchFamily="2" charset="0"/>
                    </a:endParaRPr>
                  </a:p>
                </p:txBody>
              </p:sp>
              <p:sp>
                <p:nvSpPr>
                  <p:cNvPr id="73" name="TextBox 72">
                    <a:extLst>
                      <a:ext uri="{FF2B5EF4-FFF2-40B4-BE49-F238E27FC236}">
                        <a16:creationId xmlns:a16="http://schemas.microsoft.com/office/drawing/2014/main" id="{022CDFA6-5CDC-5F73-7D9E-499B2270F3B4}"/>
                      </a:ext>
                    </a:extLst>
                  </p:cNvPr>
                  <p:cNvSpPr txBox="1"/>
                  <p:nvPr/>
                </p:nvSpPr>
                <p:spPr>
                  <a:xfrm>
                    <a:off x="1402157" y="2474585"/>
                    <a:ext cx="964250" cy="523220"/>
                  </a:xfrm>
                  <a:prstGeom prst="rect">
                    <a:avLst/>
                  </a:prstGeom>
                  <a:noFill/>
                </p:spPr>
                <p:txBody>
                  <a:bodyPr wrap="square" rtlCol="0">
                    <a:spAutoFit/>
                  </a:bodyPr>
                  <a:lstStyle/>
                  <a:p>
                    <a:pPr algn="ctr"/>
                    <a:r>
                      <a:rPr lang="en-US">
                        <a:solidFill>
                          <a:schemeClr val="accent2"/>
                        </a:solidFill>
                        <a:latin typeface="Open Sauce One" pitchFamily="2" charset="0"/>
                      </a:rPr>
                      <a:t>~40%</a:t>
                    </a:r>
                  </a:p>
                  <a:p>
                    <a:pPr algn="ctr"/>
                    <a:r>
                      <a:rPr lang="en-US" sz="900">
                        <a:solidFill>
                          <a:schemeClr val="accent2"/>
                        </a:solidFill>
                        <a:latin typeface="Open Sauce One" pitchFamily="2" charset="0"/>
                      </a:rPr>
                      <a:t>Assisted</a:t>
                    </a:r>
                  </a:p>
                </p:txBody>
              </p:sp>
            </p:grpSp>
            <p:grpSp>
              <p:nvGrpSpPr>
                <p:cNvPr id="74" name="Group 73">
                  <a:extLst>
                    <a:ext uri="{FF2B5EF4-FFF2-40B4-BE49-F238E27FC236}">
                      <a16:creationId xmlns:a16="http://schemas.microsoft.com/office/drawing/2014/main" id="{77F8C7CF-E0FF-4EF8-D93B-678D84C6A522}"/>
                    </a:ext>
                  </a:extLst>
                </p:cNvPr>
                <p:cNvGrpSpPr/>
                <p:nvPr/>
              </p:nvGrpSpPr>
              <p:grpSpPr>
                <a:xfrm>
                  <a:off x="6897601" y="2155922"/>
                  <a:ext cx="964250" cy="855078"/>
                  <a:chOff x="1496747" y="2312882"/>
                  <a:chExt cx="964250" cy="855078"/>
                </a:xfrm>
              </p:grpSpPr>
              <p:sp>
                <p:nvSpPr>
                  <p:cNvPr id="75" name="Ellipszis 12">
                    <a:extLst>
                      <a:ext uri="{FF2B5EF4-FFF2-40B4-BE49-F238E27FC236}">
                        <a16:creationId xmlns:a16="http://schemas.microsoft.com/office/drawing/2014/main" id="{5455D508-21E5-B876-0B89-B382897568E7}"/>
                      </a:ext>
                    </a:extLst>
                  </p:cNvPr>
                  <p:cNvSpPr/>
                  <p:nvPr/>
                </p:nvSpPr>
                <p:spPr>
                  <a:xfrm>
                    <a:off x="1550937" y="2312882"/>
                    <a:ext cx="855078" cy="855078"/>
                  </a:xfrm>
                  <a:prstGeom prst="ellipse">
                    <a:avLst/>
                  </a:prstGeom>
                  <a:solidFill>
                    <a:srgbClr val="FDE7D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2"/>
                      </a:solidFill>
                      <a:latin typeface="Open Sauce One" pitchFamily="2" charset="0"/>
                    </a:endParaRPr>
                  </a:p>
                </p:txBody>
              </p:sp>
              <p:sp>
                <p:nvSpPr>
                  <p:cNvPr id="76" name="TextBox 75">
                    <a:extLst>
                      <a:ext uri="{FF2B5EF4-FFF2-40B4-BE49-F238E27FC236}">
                        <a16:creationId xmlns:a16="http://schemas.microsoft.com/office/drawing/2014/main" id="{1EFC03A7-6667-A60C-35E0-B7434A6B3BE6}"/>
                      </a:ext>
                    </a:extLst>
                  </p:cNvPr>
                  <p:cNvSpPr txBox="1"/>
                  <p:nvPr/>
                </p:nvSpPr>
                <p:spPr>
                  <a:xfrm>
                    <a:off x="1496747" y="2474585"/>
                    <a:ext cx="964250" cy="523220"/>
                  </a:xfrm>
                  <a:prstGeom prst="rect">
                    <a:avLst/>
                  </a:prstGeom>
                  <a:noFill/>
                </p:spPr>
                <p:txBody>
                  <a:bodyPr wrap="square" rtlCol="0">
                    <a:spAutoFit/>
                  </a:bodyPr>
                  <a:lstStyle/>
                  <a:p>
                    <a:pPr algn="ctr"/>
                    <a:r>
                      <a:rPr lang="en-US">
                        <a:solidFill>
                          <a:schemeClr val="accent2"/>
                        </a:solidFill>
                        <a:latin typeface="Open Sauce One" pitchFamily="2" charset="0"/>
                      </a:rPr>
                      <a:t>~60%</a:t>
                    </a:r>
                  </a:p>
                  <a:p>
                    <a:pPr algn="ctr"/>
                    <a:r>
                      <a:rPr lang="en-US" sz="900">
                        <a:solidFill>
                          <a:schemeClr val="accent2"/>
                        </a:solidFill>
                        <a:latin typeface="Open Sauce One" pitchFamily="2" charset="0"/>
                      </a:rPr>
                      <a:t>Assisted</a:t>
                    </a:r>
                    <a:endParaRPr lang="en-US" sz="1000">
                      <a:solidFill>
                        <a:schemeClr val="accent2"/>
                      </a:solidFill>
                      <a:latin typeface="Open Sauce One" pitchFamily="2" charset="0"/>
                    </a:endParaRPr>
                  </a:p>
                </p:txBody>
              </p:sp>
            </p:grpSp>
            <p:grpSp>
              <p:nvGrpSpPr>
                <p:cNvPr id="78" name="Group 77">
                  <a:extLst>
                    <a:ext uri="{FF2B5EF4-FFF2-40B4-BE49-F238E27FC236}">
                      <a16:creationId xmlns:a16="http://schemas.microsoft.com/office/drawing/2014/main" id="{309E4691-ED2F-BAA9-B88A-1AE5E59D80F5}"/>
                    </a:ext>
                  </a:extLst>
                </p:cNvPr>
                <p:cNvGrpSpPr/>
                <p:nvPr/>
              </p:nvGrpSpPr>
              <p:grpSpPr>
                <a:xfrm>
                  <a:off x="8709627" y="2155922"/>
                  <a:ext cx="964250" cy="855078"/>
                  <a:chOff x="1454707" y="2318754"/>
                  <a:chExt cx="964250" cy="855078"/>
                </a:xfrm>
              </p:grpSpPr>
              <p:sp>
                <p:nvSpPr>
                  <p:cNvPr id="79" name="Ellipszis 12">
                    <a:extLst>
                      <a:ext uri="{FF2B5EF4-FFF2-40B4-BE49-F238E27FC236}">
                        <a16:creationId xmlns:a16="http://schemas.microsoft.com/office/drawing/2014/main" id="{26C655B2-CD25-CF03-87F6-C5DDFA7BD2E3}"/>
                      </a:ext>
                    </a:extLst>
                  </p:cNvPr>
                  <p:cNvSpPr/>
                  <p:nvPr/>
                </p:nvSpPr>
                <p:spPr>
                  <a:xfrm>
                    <a:off x="1506656" y="2318754"/>
                    <a:ext cx="855078" cy="855078"/>
                  </a:xfrm>
                  <a:prstGeom prst="ellipse">
                    <a:avLst/>
                  </a:prstGeom>
                  <a:solidFill>
                    <a:srgbClr val="C6F5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2"/>
                      </a:solidFill>
                      <a:latin typeface="Open Sauce One" pitchFamily="2" charset="0"/>
                    </a:endParaRPr>
                  </a:p>
                </p:txBody>
              </p:sp>
              <p:sp>
                <p:nvSpPr>
                  <p:cNvPr id="80" name="TextBox 79">
                    <a:extLst>
                      <a:ext uri="{FF2B5EF4-FFF2-40B4-BE49-F238E27FC236}">
                        <a16:creationId xmlns:a16="http://schemas.microsoft.com/office/drawing/2014/main" id="{74A1A7A3-4A39-E2C4-B624-B7021B8E5537}"/>
                      </a:ext>
                    </a:extLst>
                  </p:cNvPr>
                  <p:cNvSpPr txBox="1"/>
                  <p:nvPr/>
                </p:nvSpPr>
                <p:spPr>
                  <a:xfrm>
                    <a:off x="1454707" y="2485095"/>
                    <a:ext cx="964250" cy="507831"/>
                  </a:xfrm>
                  <a:prstGeom prst="rect">
                    <a:avLst/>
                  </a:prstGeom>
                  <a:noFill/>
                </p:spPr>
                <p:txBody>
                  <a:bodyPr wrap="square" rtlCol="0">
                    <a:spAutoFit/>
                  </a:bodyPr>
                  <a:lstStyle/>
                  <a:p>
                    <a:pPr algn="ctr"/>
                    <a:r>
                      <a:rPr lang="en-US">
                        <a:solidFill>
                          <a:schemeClr val="accent2"/>
                        </a:solidFill>
                        <a:latin typeface="Open Sauce One" pitchFamily="2" charset="0"/>
                      </a:rPr>
                      <a:t>~80%</a:t>
                    </a:r>
                  </a:p>
                  <a:p>
                    <a:pPr algn="ctr"/>
                    <a:r>
                      <a:rPr lang="en-US" sz="900">
                        <a:solidFill>
                          <a:schemeClr val="accent2"/>
                        </a:solidFill>
                        <a:latin typeface="Open Sauce One" pitchFamily="2" charset="0"/>
                      </a:rPr>
                      <a:t>Autonomous</a:t>
                    </a:r>
                  </a:p>
                </p:txBody>
              </p:sp>
            </p:grpSp>
            <p:grpSp>
              <p:nvGrpSpPr>
                <p:cNvPr id="81" name="Group 80">
                  <a:extLst>
                    <a:ext uri="{FF2B5EF4-FFF2-40B4-BE49-F238E27FC236}">
                      <a16:creationId xmlns:a16="http://schemas.microsoft.com/office/drawing/2014/main" id="{B84A909A-4B29-41A3-830E-4E100FF4AE3E}"/>
                    </a:ext>
                  </a:extLst>
                </p:cNvPr>
                <p:cNvGrpSpPr/>
                <p:nvPr/>
              </p:nvGrpSpPr>
              <p:grpSpPr>
                <a:xfrm>
                  <a:off x="10530136" y="2155922"/>
                  <a:ext cx="964250" cy="855078"/>
                  <a:chOff x="1339097" y="2302796"/>
                  <a:chExt cx="964250" cy="855078"/>
                </a:xfrm>
              </p:grpSpPr>
              <p:sp>
                <p:nvSpPr>
                  <p:cNvPr id="82" name="Ellipszis 12">
                    <a:extLst>
                      <a:ext uri="{FF2B5EF4-FFF2-40B4-BE49-F238E27FC236}">
                        <a16:creationId xmlns:a16="http://schemas.microsoft.com/office/drawing/2014/main" id="{D642B96E-8E22-93E6-2C9F-D37E98A66F8E}"/>
                      </a:ext>
                    </a:extLst>
                  </p:cNvPr>
                  <p:cNvSpPr/>
                  <p:nvPr/>
                </p:nvSpPr>
                <p:spPr>
                  <a:xfrm>
                    <a:off x="1380324" y="2302796"/>
                    <a:ext cx="855078" cy="855078"/>
                  </a:xfrm>
                  <a:prstGeom prst="ellipse">
                    <a:avLst/>
                  </a:prstGeom>
                  <a:solidFill>
                    <a:srgbClr val="AEE7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2"/>
                      </a:solidFill>
                      <a:latin typeface="Open Sauce One" pitchFamily="2" charset="0"/>
                    </a:endParaRPr>
                  </a:p>
                </p:txBody>
              </p:sp>
              <p:sp>
                <p:nvSpPr>
                  <p:cNvPr id="83" name="TextBox 82">
                    <a:extLst>
                      <a:ext uri="{FF2B5EF4-FFF2-40B4-BE49-F238E27FC236}">
                        <a16:creationId xmlns:a16="http://schemas.microsoft.com/office/drawing/2014/main" id="{F0F74107-9091-3B3E-042D-48A8258578BB}"/>
                      </a:ext>
                    </a:extLst>
                  </p:cNvPr>
                  <p:cNvSpPr txBox="1"/>
                  <p:nvPr/>
                </p:nvSpPr>
                <p:spPr>
                  <a:xfrm>
                    <a:off x="1339097" y="2464075"/>
                    <a:ext cx="964250" cy="523220"/>
                  </a:xfrm>
                  <a:prstGeom prst="rect">
                    <a:avLst/>
                  </a:prstGeom>
                  <a:noFill/>
                </p:spPr>
                <p:txBody>
                  <a:bodyPr wrap="square" rtlCol="0">
                    <a:spAutoFit/>
                  </a:bodyPr>
                  <a:lstStyle/>
                  <a:p>
                    <a:pPr algn="ctr"/>
                    <a:r>
                      <a:rPr lang="en-US">
                        <a:solidFill>
                          <a:schemeClr val="accent2"/>
                        </a:solidFill>
                        <a:latin typeface="Open Sauce One" pitchFamily="2" charset="0"/>
                      </a:rPr>
                      <a:t>100%</a:t>
                    </a:r>
                  </a:p>
                  <a:p>
                    <a:pPr algn="ctr"/>
                    <a:r>
                      <a:rPr lang="en-US" sz="900">
                        <a:solidFill>
                          <a:schemeClr val="accent2"/>
                        </a:solidFill>
                        <a:latin typeface="Open Sauce One" pitchFamily="2" charset="0"/>
                      </a:rPr>
                      <a:t>Autonomous</a:t>
                    </a:r>
                    <a:endParaRPr lang="en-US" sz="1000">
                      <a:solidFill>
                        <a:schemeClr val="accent2"/>
                      </a:solidFill>
                      <a:latin typeface="Open Sauce One" pitchFamily="2" charset="0"/>
                    </a:endParaRPr>
                  </a:p>
                </p:txBody>
              </p:sp>
            </p:grpSp>
            <p:cxnSp>
              <p:nvCxnSpPr>
                <p:cNvPr id="84" name="Straight Connector 83">
                  <a:extLst>
                    <a:ext uri="{FF2B5EF4-FFF2-40B4-BE49-F238E27FC236}">
                      <a16:creationId xmlns:a16="http://schemas.microsoft.com/office/drawing/2014/main" id="{7A16F7DF-4399-F728-DE9C-7FF7CCCFFC2C}"/>
                    </a:ext>
                  </a:extLst>
                </p:cNvPr>
                <p:cNvCxnSpPr>
                  <a:cxnSpLocks/>
                </p:cNvCxnSpPr>
                <p:nvPr/>
              </p:nvCxnSpPr>
              <p:spPr>
                <a:xfrm>
                  <a:off x="8585329" y="2576692"/>
                  <a:ext cx="0" cy="476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8797D497-044E-F81F-6E89-2B83A70A5EA4}"/>
                    </a:ext>
                  </a:extLst>
                </p:cNvPr>
                <p:cNvCxnSpPr>
                  <a:cxnSpLocks/>
                </p:cNvCxnSpPr>
                <p:nvPr/>
              </p:nvCxnSpPr>
              <p:spPr>
                <a:xfrm>
                  <a:off x="10393514" y="2589631"/>
                  <a:ext cx="0" cy="476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5" name="TextBox 24">
              <a:extLst>
                <a:ext uri="{FF2B5EF4-FFF2-40B4-BE49-F238E27FC236}">
                  <a16:creationId xmlns:a16="http://schemas.microsoft.com/office/drawing/2014/main" id="{E0D61DEC-BE7C-B53D-E850-0F0D0B2D5670}"/>
                </a:ext>
              </a:extLst>
            </p:cNvPr>
            <p:cNvSpPr txBox="1"/>
            <p:nvPr/>
          </p:nvSpPr>
          <p:spPr>
            <a:xfrm>
              <a:off x="738034" y="1340523"/>
              <a:ext cx="6159062" cy="646331"/>
            </a:xfrm>
            <a:prstGeom prst="rect">
              <a:avLst/>
            </a:prstGeom>
            <a:noFill/>
          </p:spPr>
          <p:txBody>
            <a:bodyPr wrap="square">
              <a:spAutoFit/>
            </a:bodyPr>
            <a:lstStyle/>
            <a:p>
              <a:pPr algn="l"/>
              <a:r>
                <a:rPr lang="en-GB" sz="1200" b="0" i="0">
                  <a:solidFill>
                    <a:srgbClr val="485589"/>
                  </a:solidFill>
                  <a:effectLst/>
                  <a:latin typeface="Open Sauce One" pitchFamily="2" charset="77"/>
                </a:rPr>
                <a:t>Index acts as a benchmarking tool for organizations to establish their level of autonomous maturity, and understand the roadmap for future investment and improvements within their department.</a:t>
              </a:r>
              <a:endParaRPr lang="en-GB" sz="1200" b="1" i="0" u="none" strike="noStrike">
                <a:solidFill>
                  <a:srgbClr val="252D53"/>
                </a:solidFill>
                <a:effectLst/>
                <a:latin typeface="Open Sauce One" pitchFamily="2" charset="77"/>
              </a:endParaRPr>
            </a:p>
          </p:txBody>
        </p:sp>
      </p:grpSp>
    </p:spTree>
    <p:extLst>
      <p:ext uri="{BB962C8B-B14F-4D97-AF65-F5344CB8AC3E}">
        <p14:creationId xmlns:p14="http://schemas.microsoft.com/office/powerpoint/2010/main" val="39638792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596B07D-E7FD-9D77-6E9E-02D3F1443077}"/>
              </a:ext>
            </a:extLst>
          </p:cNvPr>
          <p:cNvGraphicFramePr>
            <a:graphicFrameLocks noChangeAspect="1"/>
          </p:cNvGraphicFramePr>
          <p:nvPr>
            <p:custDataLst>
              <p:tags r:id="rId1"/>
            </p:custDataLst>
            <p:extLst>
              <p:ext uri="{D42A27DB-BD31-4B8C-83A1-F6EECF244321}">
                <p14:modId xmlns:p14="http://schemas.microsoft.com/office/powerpoint/2010/main" val="235612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8" name="Object 7" hidden="1">
                        <a:extLst>
                          <a:ext uri="{FF2B5EF4-FFF2-40B4-BE49-F238E27FC236}">
                            <a16:creationId xmlns:a16="http://schemas.microsoft.com/office/drawing/2014/main" id="{B596B07D-E7FD-9D77-6E9E-02D3F14430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Issues</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5</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AID (Risks, Actions, Issues &amp; Decisions) Follow-up</a:t>
            </a:r>
          </a:p>
          <a:p>
            <a:endParaRPr lang="en-US"/>
          </a:p>
        </p:txBody>
      </p:sp>
      <p:graphicFrame>
        <p:nvGraphicFramePr>
          <p:cNvPr id="10" name="Table 20">
            <a:extLst>
              <a:ext uri="{FF2B5EF4-FFF2-40B4-BE49-F238E27FC236}">
                <a16:creationId xmlns:a16="http://schemas.microsoft.com/office/drawing/2014/main" id="{7544F936-BD39-3E2C-CBE5-9E72161B5790}"/>
              </a:ext>
            </a:extLst>
          </p:cNvPr>
          <p:cNvGraphicFramePr>
            <a:graphicFrameLocks noGrp="1"/>
          </p:cNvGraphicFramePr>
          <p:nvPr>
            <p:extLst>
              <p:ext uri="{D42A27DB-BD31-4B8C-83A1-F6EECF244321}">
                <p14:modId xmlns:p14="http://schemas.microsoft.com/office/powerpoint/2010/main" val="3156357405"/>
              </p:ext>
            </p:extLst>
          </p:nvPr>
        </p:nvGraphicFramePr>
        <p:xfrm>
          <a:off x="430187" y="1614689"/>
          <a:ext cx="11318898" cy="4287252"/>
        </p:xfrm>
        <a:graphic>
          <a:graphicData uri="http://schemas.openxmlformats.org/drawingml/2006/table">
            <a:tbl>
              <a:tblPr firstRow="1" bandRow="1">
                <a:tableStyleId>{5C22544A-7EE6-4342-B048-85BDC9FD1C3A}</a:tableStyleId>
              </a:tblPr>
              <a:tblGrid>
                <a:gridCol w="731688">
                  <a:extLst>
                    <a:ext uri="{9D8B030D-6E8A-4147-A177-3AD203B41FA5}">
                      <a16:colId xmlns:a16="http://schemas.microsoft.com/office/drawing/2014/main" val="3244616842"/>
                    </a:ext>
                  </a:extLst>
                </a:gridCol>
                <a:gridCol w="679508">
                  <a:extLst>
                    <a:ext uri="{9D8B030D-6E8A-4147-A177-3AD203B41FA5}">
                      <a16:colId xmlns:a16="http://schemas.microsoft.com/office/drawing/2014/main" val="2386481620"/>
                    </a:ext>
                  </a:extLst>
                </a:gridCol>
                <a:gridCol w="675314">
                  <a:extLst>
                    <a:ext uri="{9D8B030D-6E8A-4147-A177-3AD203B41FA5}">
                      <a16:colId xmlns:a16="http://schemas.microsoft.com/office/drawing/2014/main" val="2503647407"/>
                    </a:ext>
                  </a:extLst>
                </a:gridCol>
                <a:gridCol w="339754">
                  <a:extLst>
                    <a:ext uri="{9D8B030D-6E8A-4147-A177-3AD203B41FA5}">
                      <a16:colId xmlns:a16="http://schemas.microsoft.com/office/drawing/2014/main" val="430674172"/>
                    </a:ext>
                  </a:extLst>
                </a:gridCol>
                <a:gridCol w="1736521">
                  <a:extLst>
                    <a:ext uri="{9D8B030D-6E8A-4147-A177-3AD203B41FA5}">
                      <a16:colId xmlns:a16="http://schemas.microsoft.com/office/drawing/2014/main" val="4026057114"/>
                    </a:ext>
                  </a:extLst>
                </a:gridCol>
                <a:gridCol w="465589">
                  <a:extLst>
                    <a:ext uri="{9D8B030D-6E8A-4147-A177-3AD203B41FA5}">
                      <a16:colId xmlns:a16="http://schemas.microsoft.com/office/drawing/2014/main" val="3217662333"/>
                    </a:ext>
                  </a:extLst>
                </a:gridCol>
                <a:gridCol w="473978">
                  <a:extLst>
                    <a:ext uri="{9D8B030D-6E8A-4147-A177-3AD203B41FA5}">
                      <a16:colId xmlns:a16="http://schemas.microsoft.com/office/drawing/2014/main" val="3517698874"/>
                    </a:ext>
                  </a:extLst>
                </a:gridCol>
                <a:gridCol w="1663975">
                  <a:extLst>
                    <a:ext uri="{9D8B030D-6E8A-4147-A177-3AD203B41FA5}">
                      <a16:colId xmlns:a16="http://schemas.microsoft.com/office/drawing/2014/main" val="1199696440"/>
                    </a:ext>
                  </a:extLst>
                </a:gridCol>
                <a:gridCol w="529747">
                  <a:extLst>
                    <a:ext uri="{9D8B030D-6E8A-4147-A177-3AD203B41FA5}">
                      <a16:colId xmlns:a16="http://schemas.microsoft.com/office/drawing/2014/main" val="2137262870"/>
                    </a:ext>
                  </a:extLst>
                </a:gridCol>
                <a:gridCol w="3305262">
                  <a:extLst>
                    <a:ext uri="{9D8B030D-6E8A-4147-A177-3AD203B41FA5}">
                      <a16:colId xmlns:a16="http://schemas.microsoft.com/office/drawing/2014/main" val="51222143"/>
                    </a:ext>
                  </a:extLst>
                </a:gridCol>
                <a:gridCol w="717562">
                  <a:extLst>
                    <a:ext uri="{9D8B030D-6E8A-4147-A177-3AD203B41FA5}">
                      <a16:colId xmlns:a16="http://schemas.microsoft.com/office/drawing/2014/main" val="3189088595"/>
                    </a:ext>
                  </a:extLst>
                </a:gridCol>
              </a:tblGrid>
              <a:tr h="420341">
                <a:tc>
                  <a:txBody>
                    <a:bodyPr/>
                    <a:lstStyle/>
                    <a:p>
                      <a:pPr algn="l" fontAlgn="b"/>
                      <a:r>
                        <a:rPr lang="en-US" sz="1000" b="1" i="0" u="none" strike="noStrike">
                          <a:solidFill>
                            <a:srgbClr val="000000"/>
                          </a:solidFill>
                          <a:effectLst/>
                          <a:latin typeface="Open Sauce One" panose="00000800000000000000"/>
                        </a:rPr>
                        <a:t>Status</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Opened at</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Closed at</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Id</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Description</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Priority</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Risk Id</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Risk Description</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Action Id</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Action Description</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tc>
                  <a:txBody>
                    <a:bodyPr/>
                    <a:lstStyle/>
                    <a:p>
                      <a:pPr algn="l" fontAlgn="b"/>
                      <a:r>
                        <a:rPr lang="en-US" sz="1000" b="1" i="0" u="none" strike="noStrike">
                          <a:solidFill>
                            <a:srgbClr val="000000"/>
                          </a:solidFill>
                          <a:effectLst/>
                          <a:latin typeface="Open Sauce One" panose="00000800000000000000"/>
                        </a:rPr>
                        <a:t>Action Status</a:t>
                      </a:r>
                    </a:p>
                  </a:txBody>
                  <a:tcPr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DE7D2"/>
                    </a:solidFill>
                  </a:tcPr>
                </a:tc>
                <a:extLst>
                  <a:ext uri="{0D108BD9-81ED-4DB2-BD59-A6C34878D82A}">
                    <a16:rowId xmlns:a16="http://schemas.microsoft.com/office/drawing/2014/main" val="1776493418"/>
                  </a:ext>
                </a:extLst>
              </a:tr>
              <a:tr h="627220">
                <a:tc>
                  <a:txBody>
                    <a:bodyPr/>
                    <a:lstStyle/>
                    <a:p>
                      <a:pPr algn="l" fontAlgn="ctr"/>
                      <a:r>
                        <a:rPr lang="en-US" sz="900" b="0" i="0" u="none" strike="noStrike">
                          <a:solidFill>
                            <a:srgbClr val="000000"/>
                          </a:solidFill>
                          <a:effectLst/>
                          <a:latin typeface="Open Sauce One" panose="00000800000000000000"/>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June 28, 2023</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 </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I002</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Transfer of initial Vendor Master Data has duplicate records (same address, city, postcode,etc) </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P2</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R009</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Vendors without a default location may lead to a wrong selection in HY side and impact the invoice payment terms</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A054</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Check offline if there is an approach to remove duplicate records from the export. Ex: a) default location = true; b) pick first/last record </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455665"/>
                  </a:ext>
                </a:extLst>
              </a:tr>
              <a:tr h="423373">
                <a:tc>
                  <a:txBody>
                    <a:bodyPr/>
                    <a:lstStyle/>
                    <a:p>
                      <a:pPr algn="l" fontAlgn="ctr"/>
                      <a:r>
                        <a:rPr lang="en-US" sz="900" b="0" i="0" u="none" strike="noStrike">
                          <a:solidFill>
                            <a:srgbClr val="000000"/>
                          </a:solidFill>
                          <a:effectLst/>
                          <a:latin typeface="Open Sauce One" panose="00000800000000000000"/>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July 19, 2023</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900" b="0" i="0" u="none" strike="noStrike" kern="1200">
                          <a:solidFill>
                            <a:srgbClr val="000000"/>
                          </a:solidFill>
                          <a:effectLst/>
                          <a:latin typeface="Open Sauce One" panose="00000800000000000000"/>
                          <a:ea typeface="+mn-ea"/>
                          <a:cs typeface="+mn-cs"/>
                        </a:rPr>
                        <a:t>September 13, 2023</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I003</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Currently HY product does not support 2-way TLS which is a KP security requirement for external system integrations.</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P1</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 </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 </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A075</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Expose HY API under a separate URL with </a:t>
                      </a:r>
                      <a:r>
                        <a:rPr lang="en-US" sz="900" b="0" i="0" u="none" strike="noStrike" err="1">
                          <a:solidFill>
                            <a:srgbClr val="000000"/>
                          </a:solidFill>
                          <a:effectLst/>
                          <a:latin typeface="Open Sauce One" panose="00000800000000000000"/>
                        </a:rPr>
                        <a:t>mTLS</a:t>
                      </a:r>
                      <a:r>
                        <a:rPr lang="en-US" sz="900" b="0" i="0" u="none" strike="noStrike">
                          <a:solidFill>
                            <a:srgbClr val="000000"/>
                          </a:solidFill>
                          <a:effectLst/>
                          <a:latin typeface="Open Sauce One" panose="00000800000000000000"/>
                        </a:rPr>
                        <a:t> authentication in front</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60078448"/>
                  </a:ext>
                </a:extLst>
              </a:tr>
              <a:tr h="338979">
                <a:tc>
                  <a:txBody>
                    <a:bodyPr/>
                    <a:lstStyle/>
                    <a:p>
                      <a:pPr algn="l" fontAlgn="ctr"/>
                      <a:endParaRPr lang="en-US" sz="900" b="0" i="0" u="none" strike="noStrike">
                        <a:solidFill>
                          <a:srgbClr val="000000"/>
                        </a:solidFill>
                        <a:effectLst/>
                        <a:highlight>
                          <a:srgbClr val="808080"/>
                        </a:highlight>
                        <a:latin typeface="Open Sauce One"/>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a:solidFill>
                          <a:srgbClr val="000000"/>
                        </a:solidFill>
                        <a:effectLst/>
                        <a:highlight>
                          <a:srgbClr val="808080"/>
                        </a:highlight>
                        <a:latin typeface="Open Sauce One"/>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a:solidFill>
                          <a:srgbClr val="000000"/>
                        </a:solidFill>
                        <a:effectLst/>
                        <a:highlight>
                          <a:srgbClr val="808080"/>
                        </a:highlight>
                        <a:latin typeface="Open Sauce One"/>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a:solidFill>
                          <a:srgbClr val="000000"/>
                        </a:solidFill>
                        <a:effectLst/>
                        <a:highlight>
                          <a:srgbClr val="808080"/>
                        </a:highlight>
                        <a:latin typeface="Open Sauce One"/>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a:solidFill>
                          <a:srgbClr val="000000"/>
                        </a:solidFill>
                        <a:effectLst/>
                        <a:highlight>
                          <a:srgbClr val="808080"/>
                        </a:highlight>
                        <a:latin typeface="Open Sauce One"/>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a:solidFill>
                          <a:srgbClr val="000000"/>
                        </a:solidFill>
                        <a:effectLst/>
                        <a:highlight>
                          <a:srgbClr val="808080"/>
                        </a:highlight>
                        <a:latin typeface="Open Sauce One"/>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a:solidFill>
                          <a:srgbClr val="000000"/>
                        </a:solidFill>
                        <a:effectLst/>
                        <a:highlight>
                          <a:srgbClr val="808080"/>
                        </a:highlight>
                        <a:latin typeface="Open Sauce One"/>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a:solidFill>
                          <a:srgbClr val="000000"/>
                        </a:solidFill>
                        <a:effectLst/>
                        <a:highlight>
                          <a:srgbClr val="808080"/>
                        </a:highlight>
                        <a:latin typeface="Open Sauce One"/>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A076</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Raise an Operation Deviation file to TRO</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7319117"/>
                  </a:ext>
                </a:extLst>
              </a:tr>
              <a:tr h="784024">
                <a:tc>
                  <a:txBody>
                    <a:bodyPr/>
                    <a:lstStyle/>
                    <a:p>
                      <a:pPr algn="l" fontAlgn="ctr"/>
                      <a:r>
                        <a:rPr lang="en-US" sz="900" b="0" i="0" u="none" strike="noStrike">
                          <a:solidFill>
                            <a:srgbClr val="000000"/>
                          </a:solidFill>
                          <a:effectLst/>
                          <a:latin typeface="Open Sauce One" panose="00000800000000000000"/>
                        </a:rPr>
                        <a:t>In Response</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August 16, 2023</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900" b="0" i="0" u="none" strike="noStrike">
                          <a:solidFill>
                            <a:srgbClr val="000000"/>
                          </a:solidFill>
                          <a:effectLst/>
                          <a:latin typeface="Open Sauce One" panose="00000800000000000000"/>
                        </a:rPr>
                        <a:t> </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900" b="0" i="0" u="none" strike="noStrike">
                          <a:solidFill>
                            <a:srgbClr val="000000"/>
                          </a:solidFill>
                          <a:effectLst/>
                          <a:latin typeface="Open Sauce One" panose="00000800000000000000"/>
                        </a:rPr>
                        <a:t>I004</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900" b="0" i="0" u="none" strike="noStrike">
                          <a:solidFill>
                            <a:srgbClr val="000000"/>
                          </a:solidFill>
                          <a:effectLst/>
                          <a:latin typeface="Open Sauce One" panose="00000800000000000000"/>
                        </a:rPr>
                        <a:t>Current Email TLS/SSL encryption solution is not approved by TRO.</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P1</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R011</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HY capability to decrypt emails encrypted by Microsoft 360 encryption tools</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A103</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dirty="0">
                          <a:solidFill>
                            <a:srgbClr val="000000"/>
                          </a:solidFill>
                          <a:effectLst/>
                          <a:latin typeface="Open Sauce One" panose="00000800000000000000"/>
                        </a:rPr>
                        <a:t>Define an Email forwarding solution approach that is acceptable for KP TRO - Document will be uploaded via API to Hypatos through Boomi connector </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a:solidFill>
                            <a:srgbClr val="000000"/>
                          </a:solidFill>
                          <a:effectLst/>
                          <a:latin typeface="Open Sauce One" panose="00000800000000000000"/>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357745"/>
                  </a:ext>
                </a:extLst>
              </a:tr>
              <a:tr h="784024">
                <a:tc>
                  <a:txBody>
                    <a:bodyPr/>
                    <a:lstStyle/>
                    <a:p>
                      <a:pPr algn="l" fontAlgn="ctr"/>
                      <a:r>
                        <a:rPr lang="en-US" sz="900" b="0" i="0" u="none" strike="noStrike" kern="1200">
                          <a:solidFill>
                            <a:srgbClr val="000000"/>
                          </a:solidFill>
                          <a:effectLst/>
                          <a:latin typeface="Open Sauce One" panose="00000800000000000000"/>
                          <a:ea typeface="+mn-ea"/>
                          <a:cs typeface="+mn-cs"/>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900" b="0" i="0" u="none" strike="noStrike" kern="1200">
                          <a:solidFill>
                            <a:srgbClr val="000000"/>
                          </a:solidFill>
                          <a:effectLst/>
                          <a:latin typeface="Open Sauce One" panose="00000800000000000000"/>
                          <a:ea typeface="+mn-ea"/>
                          <a:cs typeface="+mn-cs"/>
                        </a:rPr>
                        <a:t>September 2, 2023</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 </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I005</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Unable to download invoice image by API v2 due to </a:t>
                      </a:r>
                      <a:r>
                        <a:rPr lang="en-US" sz="900" b="0" i="1" u="none" strike="noStrike" kern="1200" err="1">
                          <a:solidFill>
                            <a:srgbClr val="000000"/>
                          </a:solidFill>
                          <a:effectLst/>
                          <a:latin typeface="Open Sauce One" panose="00000800000000000000"/>
                          <a:ea typeface="+mn-ea"/>
                          <a:cs typeface="+mn-cs"/>
                        </a:rPr>
                        <a:t>fileId</a:t>
                      </a:r>
                      <a:r>
                        <a:rPr lang="en-US" sz="900" b="0" i="0" u="none" strike="noStrike" kern="1200">
                          <a:solidFill>
                            <a:srgbClr val="000000"/>
                          </a:solidFill>
                          <a:effectLst/>
                          <a:latin typeface="Open Sauce One" panose="00000800000000000000"/>
                          <a:ea typeface="+mn-ea"/>
                          <a:cs typeface="+mn-cs"/>
                        </a:rPr>
                        <a:t> is null when using Email Listener</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P1</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kern="1200">
                        <a:solidFill>
                          <a:srgbClr val="000000"/>
                        </a:solidFill>
                        <a:effectLst/>
                        <a:latin typeface="Open Sauce One" panose="00000800000000000000"/>
                        <a:ea typeface="+mn-ea"/>
                        <a:cs typeface="+mn-cs"/>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kern="1200">
                        <a:solidFill>
                          <a:srgbClr val="000000"/>
                        </a:solidFill>
                        <a:effectLst/>
                        <a:latin typeface="Open Sauce One" panose="00000800000000000000"/>
                        <a:ea typeface="+mn-ea"/>
                        <a:cs typeface="+mn-cs"/>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A107</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Fix HY API v2 to assign </a:t>
                      </a:r>
                      <a:r>
                        <a:rPr lang="en-US" sz="900" b="0" i="0" u="none" strike="noStrike" kern="1200" err="1">
                          <a:solidFill>
                            <a:srgbClr val="000000"/>
                          </a:solidFill>
                          <a:effectLst/>
                          <a:latin typeface="Open Sauce One" panose="00000800000000000000"/>
                          <a:ea typeface="+mn-ea"/>
                          <a:cs typeface="+mn-cs"/>
                        </a:rPr>
                        <a:t>fileId</a:t>
                      </a:r>
                      <a:r>
                        <a:rPr lang="en-US" sz="900" b="0" i="0" u="none" strike="noStrike" kern="1200">
                          <a:solidFill>
                            <a:srgbClr val="000000"/>
                          </a:solidFill>
                          <a:effectLst/>
                          <a:latin typeface="Open Sauce One" panose="00000800000000000000"/>
                          <a:ea typeface="+mn-ea"/>
                          <a:cs typeface="+mn-cs"/>
                        </a:rPr>
                        <a:t> when the document is sent through Email Listener</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2402667"/>
                  </a:ext>
                </a:extLst>
              </a:tr>
              <a:tr h="784024">
                <a:tc>
                  <a:txBody>
                    <a:bodyPr/>
                    <a:lstStyle/>
                    <a:p>
                      <a:pPr algn="l" fontAlgn="ctr"/>
                      <a:r>
                        <a:rPr lang="en-US" sz="900" b="0" i="0" u="none" strike="noStrike" kern="1200">
                          <a:solidFill>
                            <a:srgbClr val="000000"/>
                          </a:solidFill>
                          <a:effectLst/>
                          <a:latin typeface="Open Sauce One" panose="00000800000000000000"/>
                          <a:ea typeface="+mn-ea"/>
                          <a:cs typeface="+mn-cs"/>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900" b="0" i="0" u="none" strike="noStrike" kern="1200">
                          <a:solidFill>
                            <a:srgbClr val="000000"/>
                          </a:solidFill>
                          <a:effectLst/>
                          <a:latin typeface="Open Sauce One" panose="00000800000000000000"/>
                          <a:ea typeface="+mn-ea"/>
                          <a:cs typeface="+mn-cs"/>
                        </a:rPr>
                        <a:t>September 6, 2023</a:t>
                      </a:r>
                    </a:p>
                    <a:p>
                      <a:pPr algn="r" fontAlgn="ctr"/>
                      <a:endParaRPr lang="en-US" sz="900" b="0" i="0" u="none" strike="noStrike" kern="1200">
                        <a:solidFill>
                          <a:srgbClr val="000000"/>
                        </a:solidFill>
                        <a:effectLst/>
                        <a:latin typeface="Open Sauce One" panose="00000800000000000000"/>
                        <a:ea typeface="+mn-ea"/>
                        <a:cs typeface="+mn-cs"/>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kern="1200">
                        <a:solidFill>
                          <a:srgbClr val="000000"/>
                        </a:solidFill>
                        <a:effectLst/>
                        <a:latin typeface="Open Sauce One" panose="00000800000000000000"/>
                        <a:ea typeface="+mn-ea"/>
                        <a:cs typeface="+mn-cs"/>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I006</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Jira Slowness is causing high impact on daily activities</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P1</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kern="1200">
                        <a:solidFill>
                          <a:srgbClr val="000000"/>
                        </a:solidFill>
                        <a:effectLst/>
                        <a:latin typeface="Open Sauce One" panose="00000800000000000000"/>
                        <a:ea typeface="+mn-ea"/>
                        <a:cs typeface="+mn-cs"/>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kern="1200">
                        <a:solidFill>
                          <a:srgbClr val="000000"/>
                        </a:solidFill>
                        <a:effectLst/>
                        <a:latin typeface="Open Sauce One" panose="00000800000000000000"/>
                        <a:ea typeface="+mn-ea"/>
                        <a:cs typeface="+mn-cs"/>
                      </a:endParaRP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A109</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Nancy (RTE) reported an Issue into Service Now. Jeanne will keep us post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b="0" i="0" u="none" strike="noStrike" kern="1200">
                          <a:solidFill>
                            <a:srgbClr val="000000"/>
                          </a:solidFill>
                          <a:effectLst/>
                          <a:latin typeface="Open Sauce One" panose="00000800000000000000"/>
                          <a:ea typeface="+mn-ea"/>
                          <a:cs typeface="+mn-cs"/>
                        </a:rPr>
                        <a:t>Closed</a:t>
                      </a:r>
                    </a:p>
                  </a:txBody>
                  <a:tcPr marL="9144" marR="0" marT="0" marB="0" anchor="ctr">
                    <a:lnL w="3175" cap="flat" cmpd="sng" algn="ctr">
                      <a:solidFill>
                        <a:schemeClr val="accent5">
                          <a:lumMod val="60000"/>
                          <a:lumOff val="40000"/>
                        </a:schemeClr>
                      </a:solidFill>
                      <a:prstDash val="solid"/>
                      <a:round/>
                      <a:headEnd type="none" w="med" len="med"/>
                      <a:tailEnd type="none" w="med" len="med"/>
                    </a:lnL>
                    <a:lnR w="3175" cap="flat" cmpd="sng" algn="ctr">
                      <a:solidFill>
                        <a:schemeClr val="accent5">
                          <a:lumMod val="60000"/>
                          <a:lumOff val="40000"/>
                        </a:schemeClr>
                      </a:solidFill>
                      <a:prstDash val="solid"/>
                      <a:round/>
                      <a:headEnd type="none" w="med" len="med"/>
                      <a:tailEnd type="none" w="med" len="med"/>
                    </a:lnR>
                    <a:lnT w="3175" cap="flat" cmpd="sng" algn="ctr">
                      <a:solidFill>
                        <a:schemeClr val="accent5">
                          <a:lumMod val="60000"/>
                          <a:lumOff val="40000"/>
                        </a:schemeClr>
                      </a:solidFill>
                      <a:prstDash val="solid"/>
                      <a:round/>
                      <a:headEnd type="none" w="med" len="med"/>
                      <a:tailEnd type="none" w="med" len="med"/>
                    </a:lnT>
                    <a:lnB w="3175"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5229295"/>
                  </a:ext>
                </a:extLst>
              </a:tr>
            </a:tbl>
          </a:graphicData>
        </a:graphic>
      </p:graphicFrame>
      <p:sp>
        <p:nvSpPr>
          <p:cNvPr id="3" name="Rectangle 2">
            <a:extLst>
              <a:ext uri="{FF2B5EF4-FFF2-40B4-BE49-F238E27FC236}">
                <a16:creationId xmlns:a16="http://schemas.microsoft.com/office/drawing/2014/main" id="{412BB4E3-6A42-81EE-0219-A475125952BB}"/>
              </a:ext>
            </a:extLst>
          </p:cNvPr>
          <p:cNvSpPr/>
          <p:nvPr/>
        </p:nvSpPr>
        <p:spPr>
          <a:xfrm>
            <a:off x="9160532" y="6200667"/>
            <a:ext cx="2433907" cy="503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highlight>
                  <a:srgbClr val="FFCCDC"/>
                </a:highlight>
                <a:latin typeface="Open Sauce One" panose="00000800000000000000"/>
                <a:ea typeface="Lato" panose="020F0502020204030203" pitchFamily="34" charset="0"/>
                <a:cs typeface="Lato" panose="020F0502020204030203" pitchFamily="34" charset="0"/>
              </a:rPr>
              <a:t>* Update since last week</a:t>
            </a:r>
            <a:r>
              <a:rPr lang="en-GB" sz="900">
                <a:solidFill>
                  <a:schemeClr val="tx1"/>
                </a:solidFill>
                <a:latin typeface="Open Sauce One" panose="00000800000000000000"/>
                <a:ea typeface="Lato" panose="020F0502020204030203" pitchFamily="34" charset="0"/>
                <a:cs typeface="Lato" panose="020F0502020204030203" pitchFamily="34" charset="0"/>
              </a:rPr>
              <a:t>  </a:t>
            </a:r>
            <a:r>
              <a:rPr lang="en-GB" sz="900">
                <a:solidFill>
                  <a:schemeClr val="tx1"/>
                </a:solidFill>
                <a:highlight>
                  <a:srgbClr val="FFFF00"/>
                </a:highlight>
                <a:latin typeface="Open Sauce One" panose="00000800000000000000"/>
                <a:ea typeface="Lato" panose="020F0502020204030203" pitchFamily="34" charset="0"/>
                <a:cs typeface="Lato" panose="020F0502020204030203" pitchFamily="34" charset="0"/>
              </a:rPr>
              <a:t>Live Update</a:t>
            </a:r>
          </a:p>
        </p:txBody>
      </p:sp>
    </p:spTree>
    <p:extLst>
      <p:ext uri="{BB962C8B-B14F-4D97-AF65-F5344CB8AC3E}">
        <p14:creationId xmlns:p14="http://schemas.microsoft.com/office/powerpoint/2010/main" val="12236277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44C8093-077B-3582-4ED9-B33922CC6792}"/>
              </a:ext>
            </a:extLst>
          </p:cNvPr>
          <p:cNvGraphicFramePr>
            <a:graphicFrameLocks noChangeAspect="1"/>
          </p:cNvGraphicFramePr>
          <p:nvPr>
            <p:custDataLst>
              <p:tags r:id="rId1"/>
            </p:custDataLst>
            <p:extLst>
              <p:ext uri="{D42A27DB-BD31-4B8C-83A1-F6EECF244321}">
                <p14:modId xmlns:p14="http://schemas.microsoft.com/office/powerpoint/2010/main" val="3724626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644C8093-077B-3582-4ED9-B33922CC67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Körszelet 4">
            <a:extLst>
              <a:ext uri="{FF2B5EF4-FFF2-40B4-BE49-F238E27FC236}">
                <a16:creationId xmlns:a16="http://schemas.microsoft.com/office/drawing/2014/main" id="{F0ABA3AB-21C6-5972-B82A-6D8841C8B84B}"/>
              </a:ext>
            </a:extLst>
          </p:cNvPr>
          <p:cNvSpPr/>
          <p:nvPr/>
        </p:nvSpPr>
        <p:spPr>
          <a:xfrm>
            <a:off x="8529401" y="2270606"/>
            <a:ext cx="4302177" cy="4302177"/>
          </a:xfrm>
          <a:prstGeom prst="chord">
            <a:avLst>
              <a:gd name="adj1" fmla="val 2700000"/>
              <a:gd name="adj2" fmla="val 1891868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uce One" pitchFamily="2" charset="0"/>
            </a:endParaRPr>
          </a:p>
        </p:txBody>
      </p:sp>
      <p:sp>
        <p:nvSpPr>
          <p:cNvPr id="2" name="Cím 1">
            <a:extLst>
              <a:ext uri="{FF2B5EF4-FFF2-40B4-BE49-F238E27FC236}">
                <a16:creationId xmlns:a16="http://schemas.microsoft.com/office/drawing/2014/main" id="{98FD1992-DD91-82E4-B0D8-5890E91D49A0}"/>
              </a:ext>
            </a:extLst>
          </p:cNvPr>
          <p:cNvSpPr>
            <a:spLocks noGrp="1"/>
          </p:cNvSpPr>
          <p:nvPr>
            <p:ph type="title"/>
          </p:nvPr>
        </p:nvSpPr>
        <p:spPr>
          <a:xfrm>
            <a:off x="407988" y="404813"/>
            <a:ext cx="11341100" cy="1015663"/>
          </a:xfrm>
        </p:spPr>
        <p:txBody>
          <a:bodyPr vert="horz"/>
          <a:lstStyle/>
          <a:p>
            <a:r>
              <a:rPr lang="en-US" sz="6000"/>
              <a:t>Thank you</a:t>
            </a:r>
          </a:p>
        </p:txBody>
      </p:sp>
      <p:sp>
        <p:nvSpPr>
          <p:cNvPr id="7" name="Rechteck 6">
            <a:extLst>
              <a:ext uri="{FF2B5EF4-FFF2-40B4-BE49-F238E27FC236}">
                <a16:creationId xmlns:a16="http://schemas.microsoft.com/office/drawing/2014/main" id="{DAA5BC18-E748-B21B-A11F-085EF60EF97B}"/>
              </a:ext>
            </a:extLst>
          </p:cNvPr>
          <p:cNvSpPr/>
          <p:nvPr/>
        </p:nvSpPr>
        <p:spPr>
          <a:xfrm>
            <a:off x="3269938" y="3590217"/>
            <a:ext cx="3000846" cy="1662956"/>
          </a:xfrm>
          <a:prstGeom prst="rect">
            <a:avLst/>
          </a:prstGeom>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de-DE" b="1" i="0" u="none" strike="noStrike" kern="1200" cap="none" spc="0" normalizeH="0" baseline="0" noProof="0">
                <a:ln>
                  <a:noFill/>
                </a:ln>
                <a:solidFill>
                  <a:schemeClr val="accent4"/>
                </a:solidFill>
                <a:effectLst/>
                <a:uLnTx/>
                <a:uFillTx/>
                <a:latin typeface="Open Sauce One" pitchFamily="2" charset="0"/>
              </a:rPr>
              <a:t>Max </a:t>
            </a:r>
            <a:r>
              <a:rPr kumimoji="0" lang="de-DE" b="1" i="0" u="none" strike="noStrike" kern="1200" cap="none" spc="0" normalizeH="0" baseline="0" noProof="0" err="1">
                <a:ln>
                  <a:noFill/>
                </a:ln>
                <a:solidFill>
                  <a:schemeClr val="accent4"/>
                </a:solidFill>
                <a:effectLst/>
                <a:uLnTx/>
                <a:uFillTx/>
                <a:latin typeface="Open Sauce One" pitchFamily="2" charset="0"/>
              </a:rPr>
              <a:t>Musterman</a:t>
            </a:r>
            <a:endParaRPr kumimoji="0" lang="de-DE" b="0" i="0" u="none" strike="noStrike" kern="1200" cap="none" spc="0" normalizeH="0" baseline="0" noProof="0">
              <a:ln>
                <a:noFill/>
              </a:ln>
              <a:solidFill>
                <a:schemeClr val="accent4"/>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err="1">
                <a:ln>
                  <a:noFill/>
                </a:ln>
                <a:effectLst/>
                <a:uLnTx/>
                <a:uFillTx/>
                <a:latin typeface="Open Sauce One" pitchFamily="2" charset="0"/>
              </a:rPr>
              <a:t>max@hypatos.ai</a:t>
            </a:r>
            <a:endParaRPr kumimoji="0" lang="de-DE" sz="1200" b="0" i="0" u="none" strike="noStrike" kern="1200" cap="none" spc="0" normalizeH="0" baseline="0" noProof="0">
              <a:ln>
                <a:noFill/>
              </a:ln>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a:ln>
                  <a:noFill/>
                </a:ln>
                <a:effectLst/>
                <a:uLnTx/>
                <a:uFillTx/>
                <a:latin typeface="Open Sauce One" pitchFamily="2" charset="0"/>
              </a:rPr>
              <a:t>+49 153 445 667 32</a:t>
            </a:r>
            <a:br>
              <a:rPr kumimoji="0" lang="de-DE" sz="1200" b="0" i="0" u="none" strike="noStrike" kern="1200" cap="none" spc="0" normalizeH="0" baseline="0" noProof="0">
                <a:ln>
                  <a:noFill/>
                </a:ln>
                <a:effectLst/>
                <a:uLnTx/>
                <a:uFillTx/>
                <a:latin typeface="Open Sauce One" pitchFamily="2" charset="0"/>
              </a:rPr>
            </a:br>
            <a:r>
              <a:rPr kumimoji="0" lang="de-DE" sz="1200" b="0" i="0" u="none" strike="noStrike" kern="1200" cap="none" spc="0" normalizeH="0" baseline="0" noProof="0">
                <a:ln>
                  <a:noFill/>
                </a:ln>
                <a:solidFill>
                  <a:schemeClr val="accent5"/>
                </a:solidFill>
                <a:effectLst/>
                <a:uLnTx/>
                <a:uFillTx/>
                <a:latin typeface="Open Sauce One" pitchFamily="2" charset="0"/>
                <a:hlinkClick r:id="rId5">
                  <a:extLst>
                    <a:ext uri="{A12FA001-AC4F-418D-AE19-62706E023703}">
                      <ahyp:hlinkClr xmlns:ahyp="http://schemas.microsoft.com/office/drawing/2018/hyperlinkcolor" val="tx"/>
                    </a:ext>
                  </a:extLst>
                </a:hlinkClick>
              </a:rPr>
              <a:t>hypatos.ai</a:t>
            </a:r>
            <a:endParaRPr kumimoji="0" lang="de-DE" sz="1200" b="0" i="0" u="none" strike="noStrike" kern="1200" cap="none" spc="0" normalizeH="0" baseline="0" noProof="0">
              <a:ln>
                <a:noFill/>
              </a:ln>
              <a:solidFill>
                <a:schemeClr val="accent5"/>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endParaRPr kumimoji="0" lang="de-DE" sz="1600" b="0" i="0" u="none" strike="noStrike" kern="1200" cap="none" spc="0" normalizeH="0" baseline="0" noProof="0">
              <a:ln>
                <a:noFill/>
              </a:ln>
              <a:solidFill>
                <a:schemeClr val="bg1"/>
              </a:solidFill>
              <a:effectLst/>
              <a:uLnTx/>
              <a:uFillTx/>
              <a:latin typeface="Open Sauce One" pitchFamily="2" charset="0"/>
            </a:endParaRPr>
          </a:p>
        </p:txBody>
      </p:sp>
      <p:pic>
        <p:nvPicPr>
          <p:cNvPr id="9" name="Kép 11">
            <a:extLst>
              <a:ext uri="{FF2B5EF4-FFF2-40B4-BE49-F238E27FC236}">
                <a16:creationId xmlns:a16="http://schemas.microsoft.com/office/drawing/2014/main" id="{80B0B709-A43D-73EF-D486-CA7769601863}"/>
              </a:ext>
            </a:extLst>
          </p:cNvPr>
          <p:cNvPicPr>
            <a:picLocks noChangeAspect="1"/>
          </p:cNvPicPr>
          <p:nvPr/>
        </p:nvPicPr>
        <p:blipFill>
          <a:blip r:embed="rId6"/>
          <a:srcRect/>
          <a:stretch/>
        </p:blipFill>
        <p:spPr>
          <a:xfrm>
            <a:off x="407988" y="1836093"/>
            <a:ext cx="1566352" cy="1566352"/>
          </a:xfrm>
          <a:prstGeom prst="ellipse">
            <a:avLst/>
          </a:prstGeom>
        </p:spPr>
      </p:pic>
      <p:sp>
        <p:nvSpPr>
          <p:cNvPr id="10" name="Rechteck 6">
            <a:extLst>
              <a:ext uri="{FF2B5EF4-FFF2-40B4-BE49-F238E27FC236}">
                <a16:creationId xmlns:a16="http://schemas.microsoft.com/office/drawing/2014/main" id="{71836ADA-DD66-7722-8C97-5248A3C64662}"/>
              </a:ext>
            </a:extLst>
          </p:cNvPr>
          <p:cNvSpPr/>
          <p:nvPr/>
        </p:nvSpPr>
        <p:spPr>
          <a:xfrm>
            <a:off x="407988" y="3590217"/>
            <a:ext cx="3000846" cy="1662956"/>
          </a:xfrm>
          <a:prstGeom prst="rect">
            <a:avLst/>
          </a:prstGeom>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de-DE" b="1" i="0" u="none" strike="noStrike" kern="1200" cap="none" spc="0" normalizeH="0" baseline="0" noProof="0">
                <a:ln>
                  <a:noFill/>
                </a:ln>
                <a:solidFill>
                  <a:schemeClr val="accent4"/>
                </a:solidFill>
                <a:effectLst/>
                <a:uLnTx/>
                <a:uFillTx/>
                <a:latin typeface="Open Sauce One" pitchFamily="2" charset="0"/>
              </a:rPr>
              <a:t>Martha </a:t>
            </a:r>
            <a:r>
              <a:rPr kumimoji="0" lang="de-DE" b="1" i="0" u="none" strike="noStrike" kern="1200" cap="none" spc="0" normalizeH="0" baseline="0" noProof="0" err="1">
                <a:ln>
                  <a:noFill/>
                </a:ln>
                <a:solidFill>
                  <a:schemeClr val="accent4"/>
                </a:solidFill>
                <a:effectLst/>
                <a:uLnTx/>
                <a:uFillTx/>
                <a:latin typeface="Open Sauce One" pitchFamily="2" charset="0"/>
              </a:rPr>
              <a:t>Musterman</a:t>
            </a:r>
            <a:endParaRPr kumimoji="0" lang="de-DE" b="0" i="0" u="none" strike="noStrike" kern="1200" cap="none" spc="0" normalizeH="0" baseline="0" noProof="0">
              <a:ln>
                <a:noFill/>
              </a:ln>
              <a:solidFill>
                <a:schemeClr val="accent4"/>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err="1">
                <a:ln>
                  <a:noFill/>
                </a:ln>
                <a:effectLst/>
                <a:uLnTx/>
                <a:uFillTx/>
                <a:latin typeface="Open Sauce One" pitchFamily="2" charset="0"/>
              </a:rPr>
              <a:t>marta@hypatos.ai</a:t>
            </a:r>
            <a:endParaRPr kumimoji="0" lang="de-DE" sz="1200" b="0" i="0" u="none" strike="noStrike" kern="1200" cap="none" spc="0" normalizeH="0" baseline="0" noProof="0">
              <a:ln>
                <a:noFill/>
              </a:ln>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a:ln>
                  <a:noFill/>
                </a:ln>
                <a:effectLst/>
                <a:uLnTx/>
                <a:uFillTx/>
                <a:latin typeface="Open Sauce One" pitchFamily="2" charset="0"/>
              </a:rPr>
              <a:t>+49 153 445 667 32</a:t>
            </a:r>
            <a:br>
              <a:rPr kumimoji="0" lang="de-DE" sz="1200" b="0" i="0" u="none" strike="noStrike" kern="1200" cap="none" spc="0" normalizeH="0" baseline="0" noProof="0">
                <a:ln>
                  <a:noFill/>
                </a:ln>
                <a:effectLst/>
                <a:uLnTx/>
                <a:uFillTx/>
                <a:latin typeface="Open Sauce One" pitchFamily="2" charset="0"/>
              </a:rPr>
            </a:br>
            <a:r>
              <a:rPr kumimoji="0" lang="de-DE" sz="1200" b="0" i="0" u="none" strike="noStrike" kern="1200" cap="none" spc="0" normalizeH="0" baseline="0" noProof="0">
                <a:ln>
                  <a:noFill/>
                </a:ln>
                <a:solidFill>
                  <a:schemeClr val="accent5"/>
                </a:solidFill>
                <a:effectLst/>
                <a:uLnTx/>
                <a:uFillTx/>
                <a:latin typeface="Open Sauce One" pitchFamily="2" charset="0"/>
                <a:hlinkClick r:id="rId5">
                  <a:extLst>
                    <a:ext uri="{A12FA001-AC4F-418D-AE19-62706E023703}">
                      <ahyp:hlinkClr xmlns:ahyp="http://schemas.microsoft.com/office/drawing/2018/hyperlinkcolor" val="tx"/>
                    </a:ext>
                  </a:extLst>
                </a:hlinkClick>
              </a:rPr>
              <a:t>hypatos.ai</a:t>
            </a:r>
            <a:endParaRPr kumimoji="0" lang="de-DE" sz="1200" b="0" i="0" u="none" strike="noStrike" kern="1200" cap="none" spc="0" normalizeH="0" baseline="0" noProof="0">
              <a:ln>
                <a:noFill/>
              </a:ln>
              <a:solidFill>
                <a:schemeClr val="accent5"/>
              </a:solidFill>
              <a:effectLst/>
              <a:uLnTx/>
              <a:uFillTx/>
              <a:latin typeface="Open Sauce One" pitchFamily="2" charset="0"/>
            </a:endParaRPr>
          </a:p>
          <a:p>
            <a:pPr marL="0" marR="0" lvl="0" indent="0" defTabSz="914400" rtl="0" eaLnBrk="1" fontAlgn="auto" latinLnBrk="0" hangingPunct="1">
              <a:lnSpc>
                <a:spcPct val="150000"/>
              </a:lnSpc>
              <a:spcBef>
                <a:spcPts val="0"/>
              </a:spcBef>
              <a:spcAft>
                <a:spcPts val="0"/>
              </a:spcAft>
              <a:buClrTx/>
              <a:buSzTx/>
              <a:buFontTx/>
              <a:buNone/>
              <a:tabLst/>
              <a:defRPr/>
            </a:pPr>
            <a:endParaRPr kumimoji="0" lang="de-DE" sz="1600" b="0" i="0" u="none" strike="noStrike" kern="1200" cap="none" spc="0" normalizeH="0" baseline="0" noProof="0">
              <a:ln>
                <a:noFill/>
              </a:ln>
              <a:solidFill>
                <a:schemeClr val="bg1"/>
              </a:solidFill>
              <a:effectLst/>
              <a:uLnTx/>
              <a:uFillTx/>
              <a:latin typeface="Open Sauce One" pitchFamily="2" charset="0"/>
            </a:endParaRPr>
          </a:p>
        </p:txBody>
      </p:sp>
      <p:pic>
        <p:nvPicPr>
          <p:cNvPr id="3" name="Kép 2">
            <a:extLst>
              <a:ext uri="{FF2B5EF4-FFF2-40B4-BE49-F238E27FC236}">
                <a16:creationId xmlns:a16="http://schemas.microsoft.com/office/drawing/2014/main" id="{9B82E006-DBE6-8376-CA1D-B3F1BE037B55}"/>
              </a:ext>
            </a:extLst>
          </p:cNvPr>
          <p:cNvPicPr>
            <a:picLocks noChangeAspect="1"/>
          </p:cNvPicPr>
          <p:nvPr/>
        </p:nvPicPr>
        <p:blipFill>
          <a:blip r:embed="rId7"/>
          <a:stretch>
            <a:fillRect/>
          </a:stretch>
        </p:blipFill>
        <p:spPr>
          <a:xfrm>
            <a:off x="7355712" y="3154146"/>
            <a:ext cx="3718491" cy="3470223"/>
          </a:xfrm>
          <a:prstGeom prst="rect">
            <a:avLst/>
          </a:prstGeom>
        </p:spPr>
      </p:pic>
      <p:pic>
        <p:nvPicPr>
          <p:cNvPr id="4" name="Kép 11">
            <a:extLst>
              <a:ext uri="{FF2B5EF4-FFF2-40B4-BE49-F238E27FC236}">
                <a16:creationId xmlns:a16="http://schemas.microsoft.com/office/drawing/2014/main" id="{E07A2759-930E-D3D0-A728-9756DAE830B3}"/>
              </a:ext>
            </a:extLst>
          </p:cNvPr>
          <p:cNvPicPr>
            <a:picLocks noChangeAspect="1"/>
          </p:cNvPicPr>
          <p:nvPr/>
        </p:nvPicPr>
        <p:blipFill>
          <a:blip r:embed="rId6"/>
          <a:srcRect/>
          <a:stretch/>
        </p:blipFill>
        <p:spPr>
          <a:xfrm>
            <a:off x="3334068" y="1836093"/>
            <a:ext cx="1566352" cy="1566352"/>
          </a:xfrm>
          <a:prstGeom prst="ellipse">
            <a:avLst/>
          </a:prstGeom>
        </p:spPr>
      </p:pic>
    </p:spTree>
    <p:extLst>
      <p:ext uri="{BB962C8B-B14F-4D97-AF65-F5344CB8AC3E}">
        <p14:creationId xmlns:p14="http://schemas.microsoft.com/office/powerpoint/2010/main" val="35110569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E243F-3D70-26B4-1DC9-ABEC8EB1A632}"/>
              </a:ext>
            </a:extLst>
          </p:cNvPr>
          <p:cNvGraphicFramePr>
            <a:graphicFrameLocks noChangeAspect="1"/>
          </p:cNvGraphicFramePr>
          <p:nvPr>
            <p:custDataLst>
              <p:tags r:id="rId1"/>
            </p:custDataLst>
            <p:extLst>
              <p:ext uri="{D42A27DB-BD31-4B8C-83A1-F6EECF244321}">
                <p14:modId xmlns:p14="http://schemas.microsoft.com/office/powerpoint/2010/main" val="2322473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6" imgH="403" progId="TCLayout.ActiveDocument.1">
                  <p:embed/>
                </p:oleObj>
              </mc:Choice>
              <mc:Fallback>
                <p:oleObj name="think-cell Slide" r:id="rId4" imgW="406" imgH="403" progId="TCLayout.ActiveDocument.1">
                  <p:embed/>
                  <p:pic>
                    <p:nvPicPr>
                      <p:cNvPr id="7" name="Object 6" hidden="1">
                        <a:extLst>
                          <a:ext uri="{FF2B5EF4-FFF2-40B4-BE49-F238E27FC236}">
                            <a16:creationId xmlns:a16="http://schemas.microsoft.com/office/drawing/2014/main" id="{871E243F-3D70-26B4-1DC9-ABEC8EB1A6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2693F6C8-A3C4-5F1E-D7B7-CA5762A5BB79}"/>
              </a:ext>
            </a:extLst>
          </p:cNvPr>
          <p:cNvSpPr>
            <a:spLocks noGrp="1"/>
          </p:cNvSpPr>
          <p:nvPr>
            <p:ph type="title"/>
          </p:nvPr>
        </p:nvSpPr>
        <p:spPr/>
        <p:txBody>
          <a:bodyPr vert="horz"/>
          <a:lstStyle/>
          <a:p>
            <a:r>
              <a:rPr lang="en-US"/>
              <a:t>Decisions</a:t>
            </a:r>
          </a:p>
        </p:txBody>
      </p:sp>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6</a:t>
            </a:fld>
            <a:endParaRPr lang="en-US"/>
          </a:p>
        </p:txBody>
      </p:sp>
      <p:sp>
        <p:nvSpPr>
          <p:cNvPr id="5" name="Tartalom helye 4">
            <a:extLst>
              <a:ext uri="{FF2B5EF4-FFF2-40B4-BE49-F238E27FC236}">
                <a16:creationId xmlns:a16="http://schemas.microsoft.com/office/drawing/2014/main" id="{17EB80B3-2456-FCC0-52E0-2B3C660FEE98}"/>
              </a:ext>
            </a:extLst>
          </p:cNvPr>
          <p:cNvSpPr>
            <a:spLocks noGrp="1"/>
          </p:cNvSpPr>
          <p:nvPr>
            <p:ph idx="13"/>
          </p:nvPr>
        </p:nvSpPr>
        <p:spPr/>
        <p:txBody>
          <a:bodyPr/>
          <a:lstStyle/>
          <a:p>
            <a:r>
              <a:rPr lang="en-US"/>
              <a:t>RAID (Risks, Actions, Issues &amp; Decisions) Follow-up</a:t>
            </a:r>
          </a:p>
        </p:txBody>
      </p:sp>
      <p:graphicFrame>
        <p:nvGraphicFramePr>
          <p:cNvPr id="6" name="Table 6">
            <a:extLst>
              <a:ext uri="{FF2B5EF4-FFF2-40B4-BE49-F238E27FC236}">
                <a16:creationId xmlns:a16="http://schemas.microsoft.com/office/drawing/2014/main" id="{A447D38A-BC4A-6237-DA3C-1B8FAE09896D}"/>
              </a:ext>
            </a:extLst>
          </p:cNvPr>
          <p:cNvGraphicFramePr>
            <a:graphicFrameLocks noGrp="1"/>
          </p:cNvGraphicFramePr>
          <p:nvPr>
            <p:extLst>
              <p:ext uri="{D42A27DB-BD31-4B8C-83A1-F6EECF244321}">
                <p14:modId xmlns:p14="http://schemas.microsoft.com/office/powerpoint/2010/main" val="3309720035"/>
              </p:ext>
            </p:extLst>
          </p:nvPr>
        </p:nvGraphicFramePr>
        <p:xfrm>
          <a:off x="429766" y="1618491"/>
          <a:ext cx="11319322" cy="4427524"/>
        </p:xfrm>
        <a:graphic>
          <a:graphicData uri="http://schemas.openxmlformats.org/drawingml/2006/table">
            <a:tbl>
              <a:tblPr firstRow="1" bandRow="1">
                <a:tableStyleId>{5C22544A-7EE6-4342-B048-85BDC9FD1C3A}</a:tableStyleId>
              </a:tblPr>
              <a:tblGrid>
                <a:gridCol w="512141">
                  <a:extLst>
                    <a:ext uri="{9D8B030D-6E8A-4147-A177-3AD203B41FA5}">
                      <a16:colId xmlns:a16="http://schemas.microsoft.com/office/drawing/2014/main" val="807255311"/>
                    </a:ext>
                  </a:extLst>
                </a:gridCol>
                <a:gridCol w="2490613">
                  <a:extLst>
                    <a:ext uri="{9D8B030D-6E8A-4147-A177-3AD203B41FA5}">
                      <a16:colId xmlns:a16="http://schemas.microsoft.com/office/drawing/2014/main" val="163418338"/>
                    </a:ext>
                  </a:extLst>
                </a:gridCol>
                <a:gridCol w="3138878">
                  <a:extLst>
                    <a:ext uri="{9D8B030D-6E8A-4147-A177-3AD203B41FA5}">
                      <a16:colId xmlns:a16="http://schemas.microsoft.com/office/drawing/2014/main" val="3392869195"/>
                    </a:ext>
                  </a:extLst>
                </a:gridCol>
                <a:gridCol w="951271">
                  <a:extLst>
                    <a:ext uri="{9D8B030D-6E8A-4147-A177-3AD203B41FA5}">
                      <a16:colId xmlns:a16="http://schemas.microsoft.com/office/drawing/2014/main" val="3247310338"/>
                    </a:ext>
                  </a:extLst>
                </a:gridCol>
                <a:gridCol w="645459">
                  <a:extLst>
                    <a:ext uri="{9D8B030D-6E8A-4147-A177-3AD203B41FA5}">
                      <a16:colId xmlns:a16="http://schemas.microsoft.com/office/drawing/2014/main" val="2961316966"/>
                    </a:ext>
                  </a:extLst>
                </a:gridCol>
                <a:gridCol w="668511">
                  <a:extLst>
                    <a:ext uri="{9D8B030D-6E8A-4147-A177-3AD203B41FA5}">
                      <a16:colId xmlns:a16="http://schemas.microsoft.com/office/drawing/2014/main" val="2238210792"/>
                    </a:ext>
                  </a:extLst>
                </a:gridCol>
                <a:gridCol w="2912449">
                  <a:extLst>
                    <a:ext uri="{9D8B030D-6E8A-4147-A177-3AD203B41FA5}">
                      <a16:colId xmlns:a16="http://schemas.microsoft.com/office/drawing/2014/main" val="3112965645"/>
                    </a:ext>
                  </a:extLst>
                </a:gridCol>
              </a:tblGrid>
              <a:tr h="345620">
                <a:tc>
                  <a:txBody>
                    <a:bodyPr/>
                    <a:lstStyle/>
                    <a:p>
                      <a:pPr algn="l" rtl="0"/>
                      <a:r>
                        <a:rPr lang="en-GB" sz="900">
                          <a:solidFill>
                            <a:schemeClr val="tx1"/>
                          </a:solidFill>
                          <a:latin typeface="Open Sauce One" panose="00000800000000000000"/>
                          <a:ea typeface="Lato"/>
                          <a:cs typeface="Lato"/>
                        </a:rPr>
                        <a:t>Id</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6F5E9"/>
                    </a:solidFill>
                  </a:tcPr>
                </a:tc>
                <a:tc>
                  <a:txBody>
                    <a:bodyPr/>
                    <a:lstStyle/>
                    <a:p>
                      <a:pPr algn="l" rtl="0"/>
                      <a:r>
                        <a:rPr lang="en-GB" sz="900">
                          <a:solidFill>
                            <a:schemeClr val="tx1"/>
                          </a:solidFill>
                          <a:latin typeface="Open Sauce One" panose="00000800000000000000"/>
                          <a:ea typeface="Lato"/>
                          <a:cs typeface="Lato"/>
                        </a:rPr>
                        <a:t>Decision Detail</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6F5E9"/>
                    </a:solidFill>
                  </a:tcPr>
                </a:tc>
                <a:tc>
                  <a:txBody>
                    <a:bodyPr/>
                    <a:lstStyle/>
                    <a:p>
                      <a:pPr algn="l" rtl="0"/>
                      <a:r>
                        <a:rPr lang="en-GB" sz="900">
                          <a:solidFill>
                            <a:schemeClr val="tx1"/>
                          </a:solidFill>
                          <a:latin typeface="Open Sauce One" panose="00000800000000000000"/>
                          <a:ea typeface="Lato"/>
                          <a:cs typeface="Lato"/>
                        </a:rPr>
                        <a:t>Decision Impact</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6F5E9"/>
                    </a:solidFill>
                  </a:tcPr>
                </a:tc>
                <a:tc>
                  <a:txBody>
                    <a:bodyPr/>
                    <a:lstStyle/>
                    <a:p>
                      <a:pPr algn="l" rtl="0"/>
                      <a:r>
                        <a:rPr lang="en-GB" sz="900">
                          <a:solidFill>
                            <a:schemeClr val="tx1"/>
                          </a:solidFill>
                          <a:latin typeface="Open Sauce One" panose="00000800000000000000"/>
                          <a:ea typeface="Lato"/>
                          <a:cs typeface="Lato"/>
                        </a:rPr>
                        <a:t>Decision Date</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6F5E9"/>
                    </a:solidFill>
                  </a:tcPr>
                </a:tc>
                <a:tc>
                  <a:txBody>
                    <a:bodyPr/>
                    <a:lstStyle/>
                    <a:p>
                      <a:pPr algn="l" rtl="0"/>
                      <a:r>
                        <a:rPr lang="en-GB" sz="900">
                          <a:solidFill>
                            <a:schemeClr val="tx1"/>
                          </a:solidFill>
                          <a:latin typeface="Open Sauce One" panose="00000800000000000000"/>
                          <a:ea typeface="Lato"/>
                          <a:cs typeface="Lato"/>
                        </a:rPr>
                        <a:t>Proposed by</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6F5E9"/>
                    </a:solidFill>
                  </a:tcPr>
                </a:tc>
                <a:tc>
                  <a:txBody>
                    <a:bodyPr/>
                    <a:lstStyle/>
                    <a:p>
                      <a:pPr algn="l" rtl="0"/>
                      <a:r>
                        <a:rPr lang="en-GB" sz="900">
                          <a:solidFill>
                            <a:schemeClr val="tx1"/>
                          </a:solidFill>
                          <a:latin typeface="Open Sauce One" panose="00000800000000000000"/>
                          <a:ea typeface="Lato"/>
                          <a:cs typeface="Lato"/>
                        </a:rPr>
                        <a:t>Approved by</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6F5E9"/>
                    </a:solidFill>
                  </a:tcPr>
                </a:tc>
                <a:tc>
                  <a:txBody>
                    <a:bodyPr/>
                    <a:lstStyle/>
                    <a:p>
                      <a:pPr algn="l" rtl="0"/>
                      <a:r>
                        <a:rPr lang="en-GB" sz="900">
                          <a:solidFill>
                            <a:schemeClr val="tx1"/>
                          </a:solidFill>
                          <a:latin typeface="Open Sauce One" panose="00000800000000000000"/>
                          <a:ea typeface="Lato"/>
                          <a:cs typeface="Lato"/>
                        </a:rPr>
                        <a:t>Alternatives Considered</a:t>
                      </a:r>
                    </a:p>
                  </a:txBody>
                  <a:tcPr anchor="ctr">
                    <a:lnL w="3175" cap="flat" cmpd="sng" algn="ctr">
                      <a:solidFill>
                        <a:schemeClr val="accent5"/>
                      </a:solidFill>
                      <a:prstDash val="solid"/>
                      <a:round/>
                      <a:headEnd type="none" w="med" len="med"/>
                      <a:tailEnd type="none" w="med" len="med"/>
                    </a:lnL>
                    <a:lnR w="12700" cmpd="sng">
                      <a:noFill/>
                    </a:lnR>
                    <a:lnT w="12700" cmpd="sng">
                      <a:noFill/>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6F5E9"/>
                    </a:solidFill>
                  </a:tcPr>
                </a:tc>
                <a:extLst>
                  <a:ext uri="{0D108BD9-81ED-4DB2-BD59-A6C34878D82A}">
                    <a16:rowId xmlns:a16="http://schemas.microsoft.com/office/drawing/2014/main" val="1817506681"/>
                  </a:ext>
                </a:extLst>
              </a:tr>
              <a:tr h="818070">
                <a:tc>
                  <a:txBody>
                    <a:bodyPr/>
                    <a:lstStyle/>
                    <a:p>
                      <a:pPr algn="l" rtl="0" fontAlgn="base"/>
                      <a:r>
                        <a:rPr lang="en-US" sz="800" kern="1200">
                          <a:solidFill>
                            <a:schemeClr val="tx1"/>
                          </a:solidFill>
                          <a:latin typeface="Open Sauce One" panose="00000800000000000000"/>
                          <a:ea typeface="Lato"/>
                          <a:cs typeface="Lato"/>
                        </a:rPr>
                        <a:t>D001​</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For GL Validation through API, the full captured string will be passed as input parameter.​</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The KP API Specification will consider an additional input parameter for GL </a:t>
                      </a:r>
                      <a:r>
                        <a:rPr lang="en-US" sz="800" kern="1200" err="1">
                          <a:solidFill>
                            <a:schemeClr val="tx1"/>
                          </a:solidFill>
                          <a:latin typeface="Open Sauce One" panose="00000800000000000000"/>
                          <a:ea typeface="Lato"/>
                          <a:cs typeface="Lato"/>
                        </a:rPr>
                        <a:t>chartfield</a:t>
                      </a:r>
                      <a:r>
                        <a:rPr lang="en-US" sz="800" kern="1200">
                          <a:solidFill>
                            <a:schemeClr val="tx1"/>
                          </a:solidFill>
                          <a:latin typeface="Open Sauce One" panose="00000800000000000000"/>
                          <a:ea typeface="Lato"/>
                          <a:cs typeface="Lato"/>
                        </a:rPr>
                        <a:t> validation​</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May 3, 2023​</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Jorge​</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Ramesh​</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The initial API specification required to have multi input parameters for GL Validation. As GL Master Data is out of scope, the safest way to ensure business logic remains on KP side is to pass only the full captured GL string instead of breaking down into business unit, deptId, account and chartfield.​</a:t>
                      </a:r>
                    </a:p>
                  </a:txBody>
                  <a:tcPr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2592930"/>
                  </a:ext>
                </a:extLst>
              </a:tr>
              <a:tr h="392865">
                <a:tc>
                  <a:txBody>
                    <a:bodyPr/>
                    <a:lstStyle/>
                    <a:p>
                      <a:pPr algn="l" rtl="0" fontAlgn="base"/>
                      <a:r>
                        <a:rPr lang="en-US" sz="800" kern="1200">
                          <a:solidFill>
                            <a:schemeClr val="tx1"/>
                          </a:solidFill>
                          <a:latin typeface="Open Sauce One" panose="00000800000000000000"/>
                          <a:ea typeface="Lato"/>
                          <a:cs typeface="Lato"/>
                        </a:rPr>
                        <a:t>D002​</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Line items in PO invoices are not mandatory for an invoice being confirmed in HY Studio​</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The auto-completion rate for PO invoices will increase.​</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June 8, 2023​</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Luca​</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Rich​</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In the very first version of the Requirement List, the line items were marked as mandatory to be captured.​</a:t>
                      </a:r>
                    </a:p>
                  </a:txBody>
                  <a:tcPr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83096845"/>
                  </a:ext>
                </a:extLst>
              </a:tr>
              <a:tr h="475228">
                <a:tc>
                  <a:txBody>
                    <a:bodyPr/>
                    <a:lstStyle/>
                    <a:p>
                      <a:pPr algn="l" rtl="0" fontAlgn="base"/>
                      <a:r>
                        <a:rPr lang="en-US" sz="800" kern="1200">
                          <a:solidFill>
                            <a:schemeClr val="tx1"/>
                          </a:solidFill>
                          <a:latin typeface="Open Sauce One" panose="00000800000000000000"/>
                          <a:ea typeface="Lato"/>
                          <a:cs typeface="Lato"/>
                        </a:rPr>
                        <a:t>D003​</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Validation of invoices in HY Studio will fully trust on the KP Composite API result​</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Regardless if an PO invoice is generated in Coupa or OL, the ownership of invoice validation remains in the KP Composite API.​</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June 28, 2023​</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Jorge​</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Ramesh​</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Use HY Coupa connector for validate Coupa PO invoices. ​</a:t>
                      </a:r>
                    </a:p>
                  </a:txBody>
                  <a:tcPr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2547024"/>
                  </a:ext>
                </a:extLst>
              </a:tr>
              <a:tr h="734443">
                <a:tc>
                  <a:txBody>
                    <a:bodyPr/>
                    <a:lstStyle/>
                    <a:p>
                      <a:pPr algn="l" rtl="0" fontAlgn="base"/>
                      <a:r>
                        <a:rPr lang="en-US" sz="800" kern="1200">
                          <a:solidFill>
                            <a:schemeClr val="tx1"/>
                          </a:solidFill>
                          <a:latin typeface="Open Sauce One" panose="00000800000000000000"/>
                          <a:ea typeface="Lato"/>
                          <a:cs typeface="Lato"/>
                        </a:rPr>
                        <a:t>D004​</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TPMG consolidate their mailboxes into 4. Each mailbox will have a dedicated inbound project in HY Studio (= 4 email listeners addresses). Two additional DPs: Business Meal &amp; Gift ID. ​</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TPMG will be handled as a side project. Potentially impact the global timeline. Require to revisit the design for auto-routing flow and plan annotation activities for extra DPs. Onboarding new users in HY Academy. Engagement of TPMG users for the testing phase (PI3).​</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July 18, 2023​</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Rich​</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Jorge​</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Use Kofax instead of HY Studio. ​</a:t>
                      </a:r>
                    </a:p>
                  </a:txBody>
                  <a:tcPr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2854381"/>
                  </a:ext>
                </a:extLst>
              </a:tr>
              <a:tr h="357559">
                <a:tc>
                  <a:txBody>
                    <a:bodyPr/>
                    <a:lstStyle/>
                    <a:p>
                      <a:pPr algn="l" rtl="0" fontAlgn="base"/>
                      <a:r>
                        <a:rPr lang="en-US" sz="800" kern="1200">
                          <a:solidFill>
                            <a:schemeClr val="tx1"/>
                          </a:solidFill>
                          <a:latin typeface="Open Sauce One" panose="00000800000000000000"/>
                          <a:ea typeface="Lato"/>
                          <a:cs typeface="Lato"/>
                        </a:rPr>
                        <a:t>D005​</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Document ID and Studio URL will be transferred to Coupa and OneLink. ​</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KP will be able to map the Studio URL to a field, allowing the user to find the document in Studio if needed​</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August 15, 2023​</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Steve​n</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Rich​</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 ​</a:t>
                      </a:r>
                    </a:p>
                  </a:txBody>
                  <a:tcPr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66806693"/>
                  </a:ext>
                </a:extLst>
              </a:tr>
              <a:tr h="345620">
                <a:tc>
                  <a:txBody>
                    <a:bodyPr/>
                    <a:lstStyle/>
                    <a:p>
                      <a:pPr algn="l" rtl="0" fontAlgn="base"/>
                      <a:r>
                        <a:rPr lang="en-US" sz="800" kern="1200">
                          <a:solidFill>
                            <a:schemeClr val="tx1"/>
                          </a:solidFill>
                          <a:latin typeface="Open Sauce One" panose="00000800000000000000"/>
                          <a:ea typeface="Lato"/>
                          <a:cs typeface="Lato"/>
                        </a:rPr>
                        <a:t>D006​</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Concatenation of address lines 1 to 4 into </a:t>
                      </a:r>
                      <a:r>
                        <a:rPr lang="en-US" sz="800" kern="1200" err="1">
                          <a:solidFill>
                            <a:schemeClr val="tx1"/>
                          </a:solidFill>
                          <a:latin typeface="Open Sauce One" panose="00000800000000000000"/>
                          <a:ea typeface="Lato"/>
                          <a:cs typeface="Lato"/>
                        </a:rPr>
                        <a:t>vendor.address</a:t>
                      </a:r>
                      <a:r>
                        <a:rPr lang="en-US" sz="800" kern="1200">
                          <a:solidFill>
                            <a:schemeClr val="tx1"/>
                          </a:solidFill>
                          <a:latin typeface="Open Sauce One" panose="00000800000000000000"/>
                          <a:ea typeface="Lato"/>
                          <a:cs typeface="Lato"/>
                        </a:rPr>
                        <a:t> ​</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All 4 address line fields will be shown in the same field in Hy Studio, matching is not impacted​</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August 29, 2023​</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Binh​</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Rich​</a:t>
                      </a:r>
                    </a:p>
                  </a:txBody>
                  <a:tcPr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ase"/>
                      <a:r>
                        <a:rPr lang="en-US" sz="800" kern="1200">
                          <a:solidFill>
                            <a:schemeClr val="tx1"/>
                          </a:solidFill>
                          <a:latin typeface="Open Sauce One" panose="00000800000000000000"/>
                          <a:ea typeface="Lato"/>
                          <a:cs typeface="Lato"/>
                        </a:rPr>
                        <a:t>Separate custom fields for each address line​</a:t>
                      </a:r>
                    </a:p>
                  </a:txBody>
                  <a:tcPr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9411498"/>
                  </a:ext>
                </a:extLst>
              </a:tr>
              <a:tr h="323633">
                <a:tc>
                  <a:txBody>
                    <a:bodyPr/>
                    <a:lstStyle/>
                    <a:p>
                      <a:pPr marL="57150" indent="57150" algn="l" fontAlgn="ctr"/>
                      <a:r>
                        <a:rPr lang="en-US" sz="800" b="0" i="0" u="none" strike="noStrike">
                          <a:solidFill>
                            <a:srgbClr val="000000"/>
                          </a:solidFill>
                          <a:effectLst/>
                          <a:latin typeface="Open Sauce One" panose="00000800000000000000"/>
                        </a:rPr>
                        <a:t>D007</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0" algn="l" fontAlgn="ctr">
                        <a:tabLst>
                          <a:tab pos="114300" algn="l"/>
                        </a:tabLst>
                      </a:pPr>
                      <a:r>
                        <a:rPr lang="en-US" sz="800" b="0" i="0" u="none" strike="noStrike" dirty="0">
                          <a:solidFill>
                            <a:srgbClr val="000000"/>
                          </a:solidFill>
                          <a:effectLst/>
                          <a:latin typeface="Open Sauce One" panose="00000800000000000000"/>
                        </a:rPr>
                        <a:t>Documents  will be uploaded via API to Hypatos through Boomi connector </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888" indent="0" algn="l" fontAlgn="ctr"/>
                      <a:r>
                        <a:rPr lang="en-US" sz="800" b="0" i="0" u="none" strike="noStrike">
                          <a:solidFill>
                            <a:srgbClr val="000000"/>
                          </a:solidFill>
                          <a:effectLst/>
                          <a:latin typeface="Open Sauce One" panose="00000800000000000000"/>
                        </a:rPr>
                        <a:t>HY will not need to decrypt emails from Microsoft 360 encryption tools</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53975" indent="0" algn="l" fontAlgn="ctr"/>
                      <a:r>
                        <a:rPr lang="en-US" sz="800" b="0" i="0" u="none" strike="noStrike">
                          <a:solidFill>
                            <a:srgbClr val="000000"/>
                          </a:solidFill>
                          <a:effectLst/>
                          <a:latin typeface="Open Sauce One" panose="00000800000000000000"/>
                        </a:rPr>
                        <a:t>September 20, 2023</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ctr"/>
                      <a:r>
                        <a:rPr lang="en-US" sz="800" b="0" i="0" u="none" strike="noStrike">
                          <a:solidFill>
                            <a:srgbClr val="000000"/>
                          </a:solidFill>
                          <a:effectLst/>
                          <a:latin typeface="Open Sauce One" panose="00000800000000000000"/>
                        </a:rPr>
                        <a:t>HY Eng Team</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115888" algn="l" fontAlgn="ctr"/>
                      <a:r>
                        <a:rPr lang="en-US" sz="800" b="0" i="0" u="none" strike="noStrike">
                          <a:solidFill>
                            <a:srgbClr val="000000"/>
                          </a:solidFill>
                          <a:effectLst/>
                          <a:latin typeface="Open Sauce One" panose="00000800000000000000"/>
                        </a:rPr>
                        <a:t>KP TRO</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115888" algn="l" fontAlgn="ctr"/>
                      <a:r>
                        <a:rPr lang="en-US" sz="800" b="0" i="0" u="none" strike="noStrike">
                          <a:solidFill>
                            <a:srgbClr val="000000"/>
                          </a:solidFill>
                          <a:effectLst/>
                          <a:latin typeface="Open Sauce One" panose="00000800000000000000"/>
                        </a:rPr>
                        <a:t>Email TLS/SSL encryption </a:t>
                      </a:r>
                    </a:p>
                  </a:txBody>
                  <a:tcPr marL="0" marR="0" marT="0" marB="0"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7701909"/>
                  </a:ext>
                </a:extLst>
              </a:tr>
              <a:tr h="307173">
                <a:tc>
                  <a:txBody>
                    <a:bodyPr/>
                    <a:lstStyle/>
                    <a:p>
                      <a:pPr algn="ctr" fontAlgn="ctr"/>
                      <a:r>
                        <a:rPr lang="en-US" sz="800" b="0" i="0" u="none" strike="noStrike">
                          <a:solidFill>
                            <a:srgbClr val="000000"/>
                          </a:solidFill>
                          <a:effectLst/>
                          <a:latin typeface="Open Sauce One" panose="00000800000000000000"/>
                        </a:rPr>
                        <a:t>D008</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888" indent="0" algn="l" fontAlgn="ctr"/>
                      <a:r>
                        <a:rPr lang="en-US" sz="800" b="0" i="0" u="none" strike="noStrike">
                          <a:solidFill>
                            <a:srgbClr val="000000"/>
                          </a:solidFill>
                          <a:effectLst/>
                          <a:latin typeface="Open Sauce One" panose="00000800000000000000"/>
                        </a:rPr>
                        <a:t>Set “0” as default value for </a:t>
                      </a:r>
                      <a:r>
                        <a:rPr lang="en-US" sz="800" b="0" i="0" u="none" strike="noStrike" err="1">
                          <a:solidFill>
                            <a:srgbClr val="000000"/>
                          </a:solidFill>
                          <a:effectLst/>
                          <a:latin typeface="Open Sauce One" panose="00000800000000000000"/>
                        </a:rPr>
                        <a:t>FreightCharges</a:t>
                      </a:r>
                      <a:r>
                        <a:rPr lang="en-US" sz="800" b="0" i="0" u="none" strike="noStrike">
                          <a:solidFill>
                            <a:srgbClr val="000000"/>
                          </a:solidFill>
                          <a:effectLst/>
                          <a:latin typeface="Open Sauce One" panose="00000800000000000000"/>
                        </a:rPr>
                        <a:t>/ </a:t>
                      </a:r>
                      <a:r>
                        <a:rPr lang="en-US" sz="800" b="0" i="0" u="none" strike="noStrike" err="1">
                          <a:solidFill>
                            <a:srgbClr val="000000"/>
                          </a:solidFill>
                          <a:effectLst/>
                          <a:latin typeface="Open Sauce One" panose="00000800000000000000"/>
                        </a:rPr>
                        <a:t>OtherCharges</a:t>
                      </a:r>
                      <a:r>
                        <a:rPr lang="en-US" sz="800" b="0" i="0" u="none" strike="noStrike">
                          <a:solidFill>
                            <a:srgbClr val="000000"/>
                          </a:solidFill>
                          <a:effectLst/>
                          <a:latin typeface="Open Sauce One" panose="00000800000000000000"/>
                        </a:rPr>
                        <a:t>/</a:t>
                      </a:r>
                      <a:r>
                        <a:rPr lang="en-US" sz="800" b="0" i="0" u="none" strike="noStrike" err="1">
                          <a:solidFill>
                            <a:srgbClr val="000000"/>
                          </a:solidFill>
                          <a:effectLst/>
                          <a:latin typeface="Open Sauce One" panose="00000800000000000000"/>
                        </a:rPr>
                        <a:t>Totaltaxcalc</a:t>
                      </a:r>
                      <a:r>
                        <a:rPr lang="en-US" sz="800" b="0" i="0" u="none" strike="noStrike">
                          <a:solidFill>
                            <a:srgbClr val="000000"/>
                          </a:solidFill>
                          <a:effectLst/>
                          <a:latin typeface="Open Sauce One" panose="00000800000000000000"/>
                        </a:rPr>
                        <a:t>/</a:t>
                      </a:r>
                      <a:r>
                        <a:rPr lang="en-US" sz="800" b="0" i="0" u="none" strike="noStrike" err="1">
                          <a:solidFill>
                            <a:srgbClr val="000000"/>
                          </a:solidFill>
                          <a:effectLst/>
                          <a:latin typeface="Open Sauce One" panose="00000800000000000000"/>
                        </a:rPr>
                        <a:t>Totalchargescalc</a:t>
                      </a:r>
                      <a:endParaRPr lang="en-US" sz="800" b="0" i="0" u="none" strike="noStrike">
                        <a:solidFill>
                          <a:srgbClr val="000000"/>
                        </a:solidFill>
                        <a:effectLst/>
                        <a:latin typeface="Open Sauce One" panose="00000800000000000000"/>
                      </a:endParaRP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115888" algn="l" fontAlgn="ctr"/>
                      <a:r>
                        <a:rPr lang="en-US" sz="800" b="0" i="0" u="none" strike="noStrike">
                          <a:solidFill>
                            <a:srgbClr val="000000"/>
                          </a:solidFill>
                          <a:effectLst/>
                          <a:latin typeface="Open Sauce One" panose="00000800000000000000"/>
                        </a:rPr>
                        <a:t>Accuracy of those data points will increase</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a:solidFill>
                            <a:srgbClr val="000000"/>
                          </a:solidFill>
                          <a:effectLst/>
                          <a:latin typeface="Open Sauce One" panose="00000800000000000000"/>
                        </a:rPr>
                        <a:t>October 1, 2023</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55563" algn="l" fontAlgn="ctr"/>
                      <a:r>
                        <a:rPr lang="en-US" sz="800" b="0" i="0" u="none" strike="noStrike">
                          <a:solidFill>
                            <a:srgbClr val="000000"/>
                          </a:solidFill>
                          <a:effectLst/>
                          <a:latin typeface="Open Sauce One" panose="00000800000000000000"/>
                        </a:rPr>
                        <a:t>HY team</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55563" algn="l" fontAlgn="ctr"/>
                      <a:r>
                        <a:rPr lang="en-US" sz="800" b="0" i="0" u="none" strike="noStrike">
                          <a:solidFill>
                            <a:srgbClr val="000000"/>
                          </a:solidFill>
                          <a:effectLst/>
                          <a:latin typeface="Open Sauce One" panose="00000800000000000000"/>
                        </a:rPr>
                        <a:t>Ramesh</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 </a:t>
                      </a:r>
                    </a:p>
                  </a:txBody>
                  <a:tcPr marL="0" marR="0" marT="0" marB="0"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900492"/>
                  </a:ext>
                </a:extLst>
              </a:tr>
              <a:tr h="307173">
                <a:tc>
                  <a:txBody>
                    <a:bodyPr/>
                    <a:lstStyle/>
                    <a:p>
                      <a:pPr algn="ctr" fontAlgn="ctr"/>
                      <a:r>
                        <a:rPr lang="en-US" sz="800" b="0" i="0" u="none" strike="noStrike">
                          <a:solidFill>
                            <a:srgbClr val="000000"/>
                          </a:solidFill>
                          <a:effectLst/>
                          <a:latin typeface="Open Sauce One" panose="00000800000000000000"/>
                        </a:rPr>
                        <a:t>D009</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888" indent="0" algn="l" fontAlgn="ctr"/>
                      <a:r>
                        <a:rPr lang="en-US" sz="800" b="0" i="0" u="none" strike="noStrike">
                          <a:solidFill>
                            <a:srgbClr val="000000"/>
                          </a:solidFill>
                          <a:effectLst/>
                          <a:latin typeface="Open Sauce One" panose="00000800000000000000"/>
                        </a:rPr>
                        <a:t>New DP's will be added to Requirements List : Project ID and PCBU</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888" indent="0" algn="l" fontAlgn="ctr"/>
                      <a:r>
                        <a:rPr lang="en-US" sz="800" b="0" i="0" u="none" strike="noStrike">
                          <a:solidFill>
                            <a:srgbClr val="000000"/>
                          </a:solidFill>
                          <a:effectLst/>
                          <a:latin typeface="Open Sauce One" panose="00000800000000000000"/>
                        </a:rPr>
                        <a:t>DP’s applicable only for Non-PO projects. They will be promptly displayed following the GL String field in the Studio's right-view. </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58738" indent="0" algn="l" fontAlgn="ctr"/>
                      <a:r>
                        <a:rPr lang="en-US" sz="800" b="0" i="0" u="none" strike="noStrike">
                          <a:solidFill>
                            <a:srgbClr val="000000"/>
                          </a:solidFill>
                          <a:effectLst/>
                          <a:latin typeface="Open Sauce One" panose="00000800000000000000"/>
                        </a:rPr>
                        <a:t>October 25, 2023</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58738" indent="0" algn="l" fontAlgn="ctr"/>
                      <a:r>
                        <a:rPr lang="en-US" sz="800" b="0" i="0" u="none" strike="noStrike">
                          <a:solidFill>
                            <a:srgbClr val="000000"/>
                          </a:solidFill>
                          <a:effectLst/>
                          <a:latin typeface="Open Sauce One" panose="00000800000000000000"/>
                        </a:rPr>
                        <a:t>KP/TPMG team</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58738" indent="0" algn="l" fontAlgn="ctr"/>
                      <a:r>
                        <a:rPr lang="en-US" sz="800" b="0" i="0" u="none" strike="noStrike">
                          <a:solidFill>
                            <a:srgbClr val="000000"/>
                          </a:solidFill>
                          <a:effectLst/>
                          <a:latin typeface="Open Sauce One" panose="00000800000000000000"/>
                        </a:rPr>
                        <a:t>Rich</a:t>
                      </a:r>
                    </a:p>
                  </a:txBody>
                  <a:tcPr marL="0" marR="0" marT="0"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Open Sauce One" panose="00000800000000000000"/>
                        </a:rPr>
                        <a:t> </a:t>
                      </a:r>
                    </a:p>
                  </a:txBody>
                  <a:tcPr marL="0" marR="0" marT="0" marB="0" anchor="ctr">
                    <a:lnL w="3175"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8012448"/>
                  </a:ext>
                </a:extLst>
              </a:tr>
            </a:tbl>
          </a:graphicData>
        </a:graphic>
      </p:graphicFrame>
      <p:sp>
        <p:nvSpPr>
          <p:cNvPr id="3" name="Rectangle 2">
            <a:extLst>
              <a:ext uri="{FF2B5EF4-FFF2-40B4-BE49-F238E27FC236}">
                <a16:creationId xmlns:a16="http://schemas.microsoft.com/office/drawing/2014/main" id="{8A478872-7F95-E4DF-9D2C-3418B2F698B1}"/>
              </a:ext>
            </a:extLst>
          </p:cNvPr>
          <p:cNvSpPr/>
          <p:nvPr/>
        </p:nvSpPr>
        <p:spPr>
          <a:xfrm>
            <a:off x="9160532" y="6200667"/>
            <a:ext cx="2433907" cy="503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highlight>
                  <a:srgbClr val="FFCCDC"/>
                </a:highlight>
                <a:latin typeface="Open Sauce One" panose="00000800000000000000"/>
                <a:ea typeface="Lato" panose="020F0502020204030203" pitchFamily="34" charset="0"/>
                <a:cs typeface="Lato" panose="020F0502020204030203" pitchFamily="34" charset="0"/>
              </a:rPr>
              <a:t>* Update since last week</a:t>
            </a:r>
            <a:r>
              <a:rPr lang="en-GB" sz="900">
                <a:solidFill>
                  <a:schemeClr val="tx1"/>
                </a:solidFill>
                <a:latin typeface="Open Sauce One" panose="00000800000000000000"/>
                <a:ea typeface="Lato" panose="020F0502020204030203" pitchFamily="34" charset="0"/>
                <a:cs typeface="Lato" panose="020F0502020204030203" pitchFamily="34" charset="0"/>
              </a:rPr>
              <a:t>  </a:t>
            </a:r>
            <a:r>
              <a:rPr lang="en-GB" sz="900">
                <a:solidFill>
                  <a:schemeClr val="tx1"/>
                </a:solidFill>
                <a:highlight>
                  <a:srgbClr val="FFFF00"/>
                </a:highlight>
                <a:latin typeface="Open Sauce One" panose="00000800000000000000"/>
                <a:ea typeface="Lato" panose="020F0502020204030203" pitchFamily="34" charset="0"/>
                <a:cs typeface="Lato" panose="020F0502020204030203" pitchFamily="34" charset="0"/>
              </a:rPr>
              <a:t>Live Update</a:t>
            </a:r>
          </a:p>
        </p:txBody>
      </p:sp>
    </p:spTree>
    <p:extLst>
      <p:ext uri="{BB962C8B-B14F-4D97-AF65-F5344CB8AC3E}">
        <p14:creationId xmlns:p14="http://schemas.microsoft.com/office/powerpoint/2010/main" val="3003681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114EE0-8285-E4F8-6A9B-9E5694773929}"/>
              </a:ext>
            </a:extLst>
          </p:cNvPr>
          <p:cNvGraphicFramePr>
            <a:graphicFrameLocks noChangeAspect="1"/>
          </p:cNvGraphicFramePr>
          <p:nvPr>
            <p:custDataLst>
              <p:tags r:id="rId1"/>
            </p:custDataLst>
            <p:extLst>
              <p:ext uri="{D42A27DB-BD31-4B8C-83A1-F6EECF244321}">
                <p14:modId xmlns:p14="http://schemas.microsoft.com/office/powerpoint/2010/main" val="2673206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35114EE0-8285-E4F8-6A9B-9E5694773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98FD1992-DD91-82E4-B0D8-5890E91D49A0}"/>
              </a:ext>
            </a:extLst>
          </p:cNvPr>
          <p:cNvSpPr>
            <a:spLocks noGrp="1"/>
          </p:cNvSpPr>
          <p:nvPr>
            <p:ph type="title"/>
          </p:nvPr>
        </p:nvSpPr>
        <p:spPr>
          <a:xfrm>
            <a:off x="407988" y="404813"/>
            <a:ext cx="11341100" cy="584775"/>
          </a:xfrm>
        </p:spPr>
        <p:txBody>
          <a:bodyPr vert="horz"/>
          <a:lstStyle/>
          <a:p>
            <a:r>
              <a:rPr lang="en-US"/>
              <a:t>Agenda</a:t>
            </a:r>
          </a:p>
        </p:txBody>
      </p:sp>
      <p:sp>
        <p:nvSpPr>
          <p:cNvPr id="4" name="Dia számának helye 3">
            <a:extLst>
              <a:ext uri="{FF2B5EF4-FFF2-40B4-BE49-F238E27FC236}">
                <a16:creationId xmlns:a16="http://schemas.microsoft.com/office/drawing/2014/main" id="{AFE8720D-AC6F-E516-5D61-AD1509AEE81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2D668-955E-AB45-9B4E-D4D3490B1261}" type="slidenum">
              <a:rPr kumimoji="0" lang="en-US" sz="1000" b="0" i="0" u="none" strike="noStrike" kern="1200" cap="none" spc="0" normalizeH="0" baseline="0" noProof="0" smtClean="0">
                <a:ln>
                  <a:noFill/>
                </a:ln>
                <a:solidFill>
                  <a:srgbClr val="FFFFFF">
                    <a:lumMod val="50000"/>
                  </a:srgbClr>
                </a:solidFill>
                <a:effectLst/>
                <a:uLnTx/>
                <a:uFillTx/>
                <a:latin typeface="Open Sauce On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FFFFFF">
                  <a:lumMod val="50000"/>
                </a:srgbClr>
              </a:solidFill>
              <a:effectLst/>
              <a:uLnTx/>
              <a:uFillTx/>
              <a:latin typeface="Open Sauce One" pitchFamily="2" charset="0"/>
              <a:ea typeface="+mn-ea"/>
              <a:cs typeface="+mn-cs"/>
            </a:endParaRPr>
          </a:p>
        </p:txBody>
      </p:sp>
      <p:sp>
        <p:nvSpPr>
          <p:cNvPr id="11" name="Lekerekített téglalap 10">
            <a:extLst>
              <a:ext uri="{FF2B5EF4-FFF2-40B4-BE49-F238E27FC236}">
                <a16:creationId xmlns:a16="http://schemas.microsoft.com/office/drawing/2014/main" id="{76C920B7-BE94-0D30-8832-EF946C388FF8}"/>
              </a:ext>
            </a:extLst>
          </p:cNvPr>
          <p:cNvSpPr/>
          <p:nvPr/>
        </p:nvSpPr>
        <p:spPr>
          <a:xfrm>
            <a:off x="407986" y="1810583"/>
            <a:ext cx="9862683" cy="417080"/>
          </a:xfrm>
          <a:prstGeom prst="roundRect">
            <a:avLst>
              <a:gd name="adj" fmla="val 8975"/>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rgbClr val="030436"/>
                </a:solidFill>
                <a:latin typeface="Open Sauce One" pitchFamily="2" charset="0"/>
              </a:rPr>
              <a:t>Project Status &amp; Timeline Review</a:t>
            </a:r>
          </a:p>
        </p:txBody>
      </p:sp>
      <p:sp>
        <p:nvSpPr>
          <p:cNvPr id="12" name="Lekerekített téglalap 11">
            <a:extLst>
              <a:ext uri="{FF2B5EF4-FFF2-40B4-BE49-F238E27FC236}">
                <a16:creationId xmlns:a16="http://schemas.microsoft.com/office/drawing/2014/main" id="{31A1A74D-3785-5589-AB3A-DD6034C72EF3}"/>
              </a:ext>
            </a:extLst>
          </p:cNvPr>
          <p:cNvSpPr/>
          <p:nvPr/>
        </p:nvSpPr>
        <p:spPr>
          <a:xfrm>
            <a:off x="407988" y="1274164"/>
            <a:ext cx="9862683" cy="417080"/>
          </a:xfrm>
          <a:prstGeom prst="roundRect">
            <a:avLst>
              <a:gd name="adj" fmla="val 11614"/>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rgbClr val="7197FF"/>
                </a:solidFill>
                <a:latin typeface="Open Sauce One" pitchFamily="2" charset="0"/>
              </a:rPr>
              <a:t>RAID (Risks, Actions, Issues &amp; Decisions) Follow-up</a:t>
            </a:r>
          </a:p>
        </p:txBody>
      </p:sp>
      <p:sp>
        <p:nvSpPr>
          <p:cNvPr id="17" name="Lekerekített téglalap 16">
            <a:extLst>
              <a:ext uri="{FF2B5EF4-FFF2-40B4-BE49-F238E27FC236}">
                <a16:creationId xmlns:a16="http://schemas.microsoft.com/office/drawing/2014/main" id="{EC20F76B-4421-69CF-B455-88358336714B}"/>
              </a:ext>
            </a:extLst>
          </p:cNvPr>
          <p:cNvSpPr/>
          <p:nvPr/>
        </p:nvSpPr>
        <p:spPr>
          <a:xfrm>
            <a:off x="407986" y="2352039"/>
            <a:ext cx="9862683" cy="417080"/>
          </a:xfrm>
          <a:prstGeom prst="roundRect">
            <a:avLst>
              <a:gd name="adj" fmla="val 8975"/>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197FF"/>
                </a:solidFill>
                <a:effectLst/>
                <a:uLnTx/>
                <a:uFillTx/>
                <a:latin typeface="Open Sauce One" pitchFamily="2" charset="0"/>
                <a:ea typeface="+mn-ea"/>
                <a:cs typeface="+mn-cs"/>
              </a:rPr>
              <a:t>Highlight Topics</a:t>
            </a:r>
          </a:p>
        </p:txBody>
      </p:sp>
    </p:spTree>
    <p:extLst>
      <p:ext uri="{BB962C8B-B14F-4D97-AF65-F5344CB8AC3E}">
        <p14:creationId xmlns:p14="http://schemas.microsoft.com/office/powerpoint/2010/main" val="312285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6DDAE5-9499-636E-1D1C-114278166184}"/>
              </a:ext>
            </a:extLst>
          </p:cNvPr>
          <p:cNvGraphicFramePr>
            <a:graphicFrameLocks noChangeAspect="1"/>
          </p:cNvGraphicFramePr>
          <p:nvPr>
            <p:custDataLst>
              <p:tags r:id="rId1"/>
            </p:custDataLst>
            <p:extLst>
              <p:ext uri="{D42A27DB-BD31-4B8C-83A1-F6EECF244321}">
                <p14:modId xmlns:p14="http://schemas.microsoft.com/office/powerpoint/2010/main" val="3444596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F66DDAE5-9499-636E-1D1C-1142781661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ia számának helye 3">
            <a:extLst>
              <a:ext uri="{FF2B5EF4-FFF2-40B4-BE49-F238E27FC236}">
                <a16:creationId xmlns:a16="http://schemas.microsoft.com/office/drawing/2014/main" id="{E6378E78-613D-08C5-DB7B-D2F0290EB232}"/>
              </a:ext>
            </a:extLst>
          </p:cNvPr>
          <p:cNvSpPr>
            <a:spLocks noGrp="1"/>
          </p:cNvSpPr>
          <p:nvPr>
            <p:ph type="sldNum" sz="quarter" idx="12"/>
          </p:nvPr>
        </p:nvSpPr>
        <p:spPr/>
        <p:txBody>
          <a:bodyPr/>
          <a:lstStyle/>
          <a:p>
            <a:fld id="{61F2D668-955E-AB45-9B4E-D4D3490B1261}" type="slidenum">
              <a:rPr lang="en-US" smtClean="0"/>
              <a:t>8</a:t>
            </a:fld>
            <a:endParaRPr lang="en-US"/>
          </a:p>
        </p:txBody>
      </p:sp>
      <p:sp>
        <p:nvSpPr>
          <p:cNvPr id="9" name="Lekerekített téglalap 8">
            <a:extLst>
              <a:ext uri="{FF2B5EF4-FFF2-40B4-BE49-F238E27FC236}">
                <a16:creationId xmlns:a16="http://schemas.microsoft.com/office/drawing/2014/main" id="{D4891B43-0B9E-717C-711B-227BCAE81373}"/>
              </a:ext>
            </a:extLst>
          </p:cNvPr>
          <p:cNvSpPr>
            <a:spLocks/>
          </p:cNvSpPr>
          <p:nvPr/>
        </p:nvSpPr>
        <p:spPr>
          <a:xfrm>
            <a:off x="561411" y="1935538"/>
            <a:ext cx="5489728" cy="4263927"/>
          </a:xfrm>
          <a:prstGeom prst="roundRect">
            <a:avLst>
              <a:gd name="adj" fmla="val 7297"/>
            </a:avLst>
          </a:prstGeom>
          <a:solidFill>
            <a:schemeClr val="bg1"/>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Open Sauce One" pitchFamily="2" charset="0"/>
              </a:rPr>
              <a:t>-</a:t>
            </a:r>
          </a:p>
        </p:txBody>
      </p:sp>
      <p:sp>
        <p:nvSpPr>
          <p:cNvPr id="17" name="Rechteck 116">
            <a:extLst>
              <a:ext uri="{FF2B5EF4-FFF2-40B4-BE49-F238E27FC236}">
                <a16:creationId xmlns:a16="http://schemas.microsoft.com/office/drawing/2014/main" id="{2E8D6115-0F54-700C-E153-7C7F63A01AED}"/>
              </a:ext>
            </a:extLst>
          </p:cNvPr>
          <p:cNvSpPr/>
          <p:nvPr/>
        </p:nvSpPr>
        <p:spPr>
          <a:xfrm>
            <a:off x="706000" y="2478024"/>
            <a:ext cx="5029200" cy="199791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spAutoFit/>
          </a:bodyPr>
          <a:lstStyle/>
          <a:p>
            <a:pPr marL="274320" lvl="1" indent="-274320">
              <a:lnSpc>
                <a:spcPct val="150000"/>
              </a:lnSpc>
              <a:buClr>
                <a:schemeClr val="accent4"/>
              </a:buClr>
              <a:buFont typeface="Arial" panose="020B0604020202020204" pitchFamily="34" charset="0"/>
              <a:buChar char="•"/>
              <a:tabLst>
                <a:tab pos="282575" algn="l"/>
              </a:tabLst>
            </a:pPr>
            <a:r>
              <a:rPr lang="en-US" sz="1400" dirty="0">
                <a:solidFill>
                  <a:schemeClr val="accent1"/>
                </a:solidFill>
                <a:latin typeface="Open Sauce One" panose="00000800000000000000"/>
                <a:ea typeface="Lato" panose="020F0502020204030203" pitchFamily="34" charset="0"/>
                <a:cs typeface="Lato" panose="020F0502020204030203" pitchFamily="34" charset="0"/>
              </a:rPr>
              <a:t>Access to HY Academy and Test Environment has been granted to UAT testers</a:t>
            </a:r>
          </a:p>
          <a:p>
            <a:pPr marL="274320" lvl="1" indent="-274320">
              <a:lnSpc>
                <a:spcPct val="150000"/>
              </a:lnSpc>
              <a:buClr>
                <a:schemeClr val="accent4"/>
              </a:buClr>
              <a:buFont typeface="Arial" panose="020B0604020202020204" pitchFamily="34" charset="0"/>
              <a:buChar char="•"/>
              <a:tabLst>
                <a:tab pos="282575" algn="l"/>
              </a:tabLst>
            </a:pPr>
            <a:r>
              <a:rPr lang="en-US" sz="1400" dirty="0">
                <a:solidFill>
                  <a:schemeClr val="accent1"/>
                </a:solidFill>
                <a:latin typeface="Open Sauce One" panose="00000800000000000000"/>
                <a:ea typeface="Lato" panose="020F0502020204030203" pitchFamily="34" charset="0"/>
                <a:cs typeface="Lato" panose="020F0502020204030203" pitchFamily="34" charset="0"/>
              </a:rPr>
              <a:t>Insightful call with Julie/Heather (OCM team) and HY team to align on the training approach </a:t>
            </a:r>
          </a:p>
          <a:p>
            <a:pPr marL="274320" lvl="1" indent="-274320">
              <a:lnSpc>
                <a:spcPct val="150000"/>
              </a:lnSpc>
              <a:buClr>
                <a:schemeClr val="accent4"/>
              </a:buClr>
              <a:buFont typeface="Arial" panose="020B0604020202020204" pitchFamily="34" charset="0"/>
              <a:buChar char="•"/>
              <a:tabLst>
                <a:tab pos="282575" algn="l"/>
              </a:tabLst>
            </a:pPr>
            <a:r>
              <a:rPr lang="en-US" sz="1400" dirty="0">
                <a:solidFill>
                  <a:schemeClr val="accent1"/>
                </a:solidFill>
                <a:latin typeface="Open Sauce One" panose="00000800000000000000"/>
                <a:ea typeface="Lato" panose="020F0502020204030203" pitchFamily="34" charset="0"/>
                <a:cs typeface="Lato" panose="020F0502020204030203" pitchFamily="34" charset="0"/>
              </a:rPr>
              <a:t>Closing the year with a successful Joint Collaboration KP x HY in 2023</a:t>
            </a:r>
          </a:p>
        </p:txBody>
      </p:sp>
      <p:sp>
        <p:nvSpPr>
          <p:cNvPr id="24" name="Rechteck 191">
            <a:extLst>
              <a:ext uri="{FF2B5EF4-FFF2-40B4-BE49-F238E27FC236}">
                <a16:creationId xmlns:a16="http://schemas.microsoft.com/office/drawing/2014/main" id="{BD212E31-0735-E6EB-9EE6-35082E2E985C}"/>
              </a:ext>
            </a:extLst>
          </p:cNvPr>
          <p:cNvSpPr/>
          <p:nvPr/>
        </p:nvSpPr>
        <p:spPr>
          <a:xfrm>
            <a:off x="798941" y="2052984"/>
            <a:ext cx="2116744" cy="369332"/>
          </a:xfrm>
          <a:prstGeom prst="rect">
            <a:avLst/>
          </a:prstGeom>
          <a:effectLst/>
        </p:spPr>
        <p:txBody>
          <a:bodyPr vert="horz"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
                <a:srgbClr val="FE702E"/>
              </a:buClr>
              <a:buSzTx/>
              <a:buFontTx/>
              <a:buNone/>
              <a:tabLst/>
              <a:defRPr/>
            </a:pPr>
            <a:r>
              <a:rPr lang="de-DE" b="1" spc="100">
                <a:solidFill>
                  <a:schemeClr val="tx2"/>
                </a:solidFill>
                <a:latin typeface="Open Sauce One" pitchFamily="2" charset="0"/>
              </a:rPr>
              <a:t>Achievements </a:t>
            </a:r>
            <a:endParaRPr kumimoji="0" lang="de-DE" b="1" i="0" u="none" strike="noStrike" kern="1200" cap="none" spc="100" normalizeH="0" baseline="0" noProof="0">
              <a:ln>
                <a:noFill/>
              </a:ln>
              <a:solidFill>
                <a:schemeClr val="tx2"/>
              </a:solidFill>
              <a:effectLst/>
              <a:uLnTx/>
              <a:uFillTx/>
              <a:latin typeface="Open Sauce One" pitchFamily="2" charset="0"/>
            </a:endParaRPr>
          </a:p>
        </p:txBody>
      </p:sp>
      <p:pic>
        <p:nvPicPr>
          <p:cNvPr id="37" name="Ábra 36">
            <a:extLst>
              <a:ext uri="{FF2B5EF4-FFF2-40B4-BE49-F238E27FC236}">
                <a16:creationId xmlns:a16="http://schemas.microsoft.com/office/drawing/2014/main" id="{4A688CBA-D4C5-061D-AE4C-9419C12A2C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66592" y="1677800"/>
            <a:ext cx="601329" cy="601329"/>
          </a:xfrm>
          <a:prstGeom prst="rect">
            <a:avLst/>
          </a:prstGeom>
        </p:spPr>
      </p:pic>
      <p:sp>
        <p:nvSpPr>
          <p:cNvPr id="11" name="Lekerekített téglalap 10">
            <a:extLst>
              <a:ext uri="{FF2B5EF4-FFF2-40B4-BE49-F238E27FC236}">
                <a16:creationId xmlns:a16="http://schemas.microsoft.com/office/drawing/2014/main" id="{61B6DCB1-4152-A1EB-DB24-534478AEE0EE}"/>
              </a:ext>
            </a:extLst>
          </p:cNvPr>
          <p:cNvSpPr>
            <a:spLocks/>
          </p:cNvSpPr>
          <p:nvPr/>
        </p:nvSpPr>
        <p:spPr>
          <a:xfrm>
            <a:off x="6238334" y="1935537"/>
            <a:ext cx="5486400" cy="4263928"/>
          </a:xfrm>
          <a:prstGeom prst="roundRect">
            <a:avLst>
              <a:gd name="adj" fmla="val 7297"/>
            </a:avLst>
          </a:prstGeom>
          <a:solidFill>
            <a:schemeClr val="bg2"/>
          </a:solidFill>
          <a:ln>
            <a:noFill/>
          </a:ln>
          <a:effectLst>
            <a:outerShdw blurRad="762000" dist="76200" dir="5400000" sx="95049" sy="95049" algn="t"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Open Sauce One" pitchFamily="2" charset="0"/>
              </a:rPr>
              <a:t>G</a:t>
            </a:r>
          </a:p>
        </p:txBody>
      </p:sp>
      <p:sp>
        <p:nvSpPr>
          <p:cNvPr id="18" name="Rechteck 119">
            <a:extLst>
              <a:ext uri="{FF2B5EF4-FFF2-40B4-BE49-F238E27FC236}">
                <a16:creationId xmlns:a16="http://schemas.microsoft.com/office/drawing/2014/main" id="{2DFDA6F5-9B4B-6556-3B36-1C525CD615F3}"/>
              </a:ext>
            </a:extLst>
          </p:cNvPr>
          <p:cNvSpPr/>
          <p:nvPr/>
        </p:nvSpPr>
        <p:spPr>
          <a:xfrm>
            <a:off x="6544076" y="2477198"/>
            <a:ext cx="5029200" cy="32905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spAutoFit/>
          </a:bodyPr>
          <a:lstStyle/>
          <a:p>
            <a:pPr marL="285750" indent="-285750">
              <a:lnSpc>
                <a:spcPct val="150000"/>
              </a:lnSpc>
              <a:buClr>
                <a:schemeClr val="accent4"/>
              </a:buClr>
              <a:buFont typeface="Arial" panose="020B0604020202020204" pitchFamily="34" charset="0"/>
              <a:buChar char="•"/>
            </a:pPr>
            <a:r>
              <a:rPr lang="en-GB" sz="1400" dirty="0">
                <a:solidFill>
                  <a:schemeClr val="tx1"/>
                </a:solidFill>
                <a:latin typeface="Open Sauce One" panose="00000800000000000000"/>
                <a:ea typeface="Lato"/>
                <a:cs typeface="Lato"/>
              </a:rPr>
              <a:t>HY QA PO, Non-Po, and TPMG models V3 </a:t>
            </a:r>
          </a:p>
          <a:p>
            <a:pPr marL="285750" indent="-285750">
              <a:lnSpc>
                <a:spcPct val="150000"/>
              </a:lnSpc>
              <a:buClr>
                <a:schemeClr val="accent4"/>
              </a:buClr>
              <a:buFont typeface="Arial" panose="020B0604020202020204" pitchFamily="34" charset="0"/>
              <a:buChar char="•"/>
            </a:pPr>
            <a:r>
              <a:rPr lang="en-US" sz="1400" dirty="0">
                <a:solidFill>
                  <a:schemeClr val="tx1"/>
                </a:solidFill>
                <a:latin typeface="Open Sauce One" panose="00000800000000000000"/>
              </a:rPr>
              <a:t>Testing cases creation for UAT (Dec 15) still ongoing </a:t>
            </a:r>
          </a:p>
          <a:p>
            <a:pPr marL="285750" indent="-285750">
              <a:lnSpc>
                <a:spcPct val="150000"/>
              </a:lnSpc>
              <a:buClr>
                <a:schemeClr val="accent4"/>
              </a:buClr>
              <a:buFont typeface="Arial" panose="020B0604020202020204" pitchFamily="34" charset="0"/>
              <a:buChar char="•"/>
            </a:pPr>
            <a:r>
              <a:rPr lang="en-US" sz="1400" dirty="0">
                <a:solidFill>
                  <a:schemeClr val="tx1"/>
                </a:solidFill>
                <a:latin typeface="Open Sauce One" panose="00000800000000000000"/>
              </a:rPr>
              <a:t>Start UAT on January 8</a:t>
            </a:r>
            <a:r>
              <a:rPr lang="en-US" sz="1400" baseline="30000" dirty="0">
                <a:solidFill>
                  <a:schemeClr val="tx1"/>
                </a:solidFill>
                <a:latin typeface="Open Sauce One" panose="00000800000000000000"/>
              </a:rPr>
              <a:t>th</a:t>
            </a:r>
            <a:r>
              <a:rPr lang="en-US" sz="1400" dirty="0">
                <a:solidFill>
                  <a:schemeClr val="tx1"/>
                </a:solidFill>
                <a:latin typeface="Open Sauce One" panose="00000800000000000000"/>
              </a:rPr>
              <a:t> </a:t>
            </a:r>
          </a:p>
          <a:p>
            <a:pPr marL="285750" indent="-285750">
              <a:lnSpc>
                <a:spcPct val="150000"/>
              </a:lnSpc>
              <a:buClr>
                <a:schemeClr val="accent4"/>
              </a:buClr>
              <a:buFont typeface="Arial" panose="020B0604020202020204" pitchFamily="34" charset="0"/>
              <a:buChar char="•"/>
            </a:pPr>
            <a:r>
              <a:rPr lang="en-US" sz="1400" dirty="0">
                <a:solidFill>
                  <a:schemeClr val="tx1"/>
                </a:solidFill>
                <a:latin typeface="Open Sauce One" panose="00000800000000000000"/>
              </a:rPr>
              <a:t>Validate the Posting data ingestion:</a:t>
            </a:r>
          </a:p>
          <a:p>
            <a:pPr marL="742950" lvl="1" indent="-285750">
              <a:lnSpc>
                <a:spcPct val="150000"/>
              </a:lnSpc>
              <a:buClr>
                <a:schemeClr val="accent4"/>
              </a:buClr>
              <a:buFont typeface="Arial" panose="020B0604020202020204" pitchFamily="34" charset="0"/>
              <a:buChar char="•"/>
            </a:pPr>
            <a:r>
              <a:rPr lang="en-US" sz="1400" dirty="0">
                <a:solidFill>
                  <a:schemeClr val="tx1"/>
                </a:solidFill>
                <a:latin typeface="Open Sauce One" panose="00000800000000000000"/>
              </a:rPr>
              <a:t>Jorge to check with Insights team about KP user configuration</a:t>
            </a:r>
          </a:p>
          <a:p>
            <a:pPr marL="285750" indent="-285750">
              <a:lnSpc>
                <a:spcPct val="150000"/>
              </a:lnSpc>
              <a:buClr>
                <a:schemeClr val="accent4"/>
              </a:buClr>
              <a:buFont typeface="Arial" panose="020B0604020202020204" pitchFamily="34" charset="0"/>
              <a:buChar char="•"/>
            </a:pPr>
            <a:r>
              <a:rPr lang="en-US" sz="1400" dirty="0">
                <a:solidFill>
                  <a:schemeClr val="tx1"/>
                </a:solidFill>
                <a:latin typeface="Open Sauce One" panose="00000800000000000000"/>
              </a:rPr>
              <a:t>Performance Test (Jan 24)</a:t>
            </a:r>
          </a:p>
          <a:p>
            <a:pPr marL="285750" indent="-285750">
              <a:lnSpc>
                <a:spcPct val="150000"/>
              </a:lnSpc>
              <a:buClr>
                <a:schemeClr val="accent4"/>
              </a:buClr>
              <a:buFont typeface="Arial" panose="020B0604020202020204" pitchFamily="34" charset="0"/>
              <a:buChar char="•"/>
            </a:pPr>
            <a:r>
              <a:rPr lang="en-US" sz="1400" dirty="0">
                <a:solidFill>
                  <a:srgbClr val="FF0000"/>
                </a:solidFill>
                <a:latin typeface="Open Sauce One" panose="00000800000000000000"/>
              </a:rPr>
              <a:t>Enjoy</a:t>
            </a:r>
            <a:r>
              <a:rPr lang="en-US" sz="1400" dirty="0">
                <a:solidFill>
                  <a:schemeClr val="tx1"/>
                </a:solidFill>
                <a:latin typeface="Open Sauce One" panose="00000800000000000000"/>
              </a:rPr>
              <a:t> </a:t>
            </a:r>
            <a:r>
              <a:rPr lang="en-US" sz="1400" dirty="0">
                <a:solidFill>
                  <a:srgbClr val="00B050"/>
                </a:solidFill>
                <a:latin typeface="Open Sauce One" panose="00000800000000000000"/>
              </a:rPr>
              <a:t>the </a:t>
            </a:r>
            <a:r>
              <a:rPr lang="en-US" sz="1400" dirty="0">
                <a:solidFill>
                  <a:srgbClr val="FF0000"/>
                </a:solidFill>
                <a:latin typeface="Open Sauce One" panose="00000800000000000000"/>
              </a:rPr>
              <a:t>Christmas</a:t>
            </a:r>
            <a:r>
              <a:rPr lang="en-US" sz="1400" dirty="0">
                <a:solidFill>
                  <a:schemeClr val="tx1"/>
                </a:solidFill>
                <a:latin typeface="Open Sauce One" panose="00000800000000000000"/>
              </a:rPr>
              <a:t> </a:t>
            </a:r>
            <a:r>
              <a:rPr lang="en-US" sz="1400" dirty="0">
                <a:solidFill>
                  <a:srgbClr val="00B050"/>
                </a:solidFill>
                <a:latin typeface="Open Sauce One" panose="00000800000000000000"/>
              </a:rPr>
              <a:t>Break</a:t>
            </a:r>
            <a:r>
              <a:rPr lang="en-US" sz="1400" dirty="0">
                <a:solidFill>
                  <a:srgbClr val="FF0000"/>
                </a:solidFill>
                <a:latin typeface="Open Sauce One" panose="00000800000000000000"/>
              </a:rPr>
              <a:t> !!</a:t>
            </a:r>
            <a:r>
              <a:rPr lang="en-US" sz="1400" dirty="0">
                <a:solidFill>
                  <a:schemeClr val="tx1"/>
                </a:solidFill>
                <a:latin typeface="Open Sauce One" panose="00000800000000000000"/>
              </a:rPr>
              <a:t> </a:t>
            </a:r>
          </a:p>
          <a:p>
            <a:pPr marL="285750" indent="-285750">
              <a:lnSpc>
                <a:spcPct val="150000"/>
              </a:lnSpc>
              <a:buClr>
                <a:schemeClr val="accent4"/>
              </a:buClr>
              <a:buFont typeface="Arial" panose="020B0604020202020204" pitchFamily="34" charset="0"/>
              <a:buChar char="•"/>
            </a:pPr>
            <a:endParaRPr lang="en-US" sz="1400" dirty="0">
              <a:solidFill>
                <a:schemeClr val="tx1"/>
              </a:solidFill>
              <a:latin typeface="Open Sauce One" panose="00000800000000000000"/>
            </a:endParaRPr>
          </a:p>
          <a:p>
            <a:pPr marL="285750" indent="-285750">
              <a:lnSpc>
                <a:spcPct val="150000"/>
              </a:lnSpc>
              <a:buClr>
                <a:schemeClr val="accent4"/>
              </a:buClr>
              <a:buFont typeface="Arial" panose="020B0604020202020204" pitchFamily="34" charset="0"/>
              <a:buChar char="•"/>
            </a:pPr>
            <a:endParaRPr lang="en-US" sz="1400" dirty="0">
              <a:solidFill>
                <a:schemeClr val="tx1"/>
              </a:solidFill>
              <a:latin typeface="Open Sauce One" panose="00000800000000000000"/>
            </a:endParaRPr>
          </a:p>
        </p:txBody>
      </p:sp>
      <p:sp>
        <p:nvSpPr>
          <p:cNvPr id="38" name="Rechteck 191">
            <a:extLst>
              <a:ext uri="{FF2B5EF4-FFF2-40B4-BE49-F238E27FC236}">
                <a16:creationId xmlns:a16="http://schemas.microsoft.com/office/drawing/2014/main" id="{58693136-510D-9D4C-A24C-6B6D5C332494}"/>
              </a:ext>
            </a:extLst>
          </p:cNvPr>
          <p:cNvSpPr/>
          <p:nvPr/>
        </p:nvSpPr>
        <p:spPr>
          <a:xfrm>
            <a:off x="6670275" y="2052984"/>
            <a:ext cx="4415028" cy="369332"/>
          </a:xfrm>
          <a:prstGeom prst="rect">
            <a:avLst/>
          </a:prstGeom>
          <a:effectLst/>
        </p:spPr>
        <p:txBody>
          <a:bodyPr vert="horz" wrap="square" lIns="9144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
                <a:srgbClr val="FE702E"/>
              </a:buClr>
              <a:buSzTx/>
              <a:buFontTx/>
              <a:buNone/>
              <a:tabLst/>
              <a:defRPr/>
            </a:pPr>
            <a:r>
              <a:rPr lang="de-DE" b="1" spc="100">
                <a:solidFill>
                  <a:schemeClr val="tx2"/>
                </a:solidFill>
                <a:latin typeface="Open Sauce One" pitchFamily="2" charset="0"/>
              </a:rPr>
              <a:t>Next </a:t>
            </a:r>
            <a:r>
              <a:rPr lang="de-DE" b="1" spc="100" err="1">
                <a:solidFill>
                  <a:schemeClr val="tx2"/>
                </a:solidFill>
                <a:latin typeface="Open Sauce One" pitchFamily="2" charset="0"/>
              </a:rPr>
              <a:t>Steps</a:t>
            </a:r>
            <a:endParaRPr kumimoji="0" lang="de-DE" b="1" i="0" u="none" strike="noStrike" kern="1200" cap="none" spc="100" normalizeH="0" baseline="0" noProof="0">
              <a:ln>
                <a:noFill/>
              </a:ln>
              <a:solidFill>
                <a:schemeClr val="tx2"/>
              </a:solidFill>
              <a:effectLst/>
              <a:uLnTx/>
              <a:uFillTx/>
              <a:latin typeface="Open Sauce One" pitchFamily="2" charset="0"/>
            </a:endParaRPr>
          </a:p>
        </p:txBody>
      </p:sp>
      <p:sp>
        <p:nvSpPr>
          <p:cNvPr id="6" name="Title 5">
            <a:extLst>
              <a:ext uri="{FF2B5EF4-FFF2-40B4-BE49-F238E27FC236}">
                <a16:creationId xmlns:a16="http://schemas.microsoft.com/office/drawing/2014/main" id="{2E9BCB2A-E542-21B8-A7FA-E4354ABE47D2}"/>
              </a:ext>
            </a:extLst>
          </p:cNvPr>
          <p:cNvSpPr>
            <a:spLocks noGrp="1"/>
          </p:cNvSpPr>
          <p:nvPr>
            <p:ph type="title"/>
          </p:nvPr>
        </p:nvSpPr>
        <p:spPr/>
        <p:txBody>
          <a:bodyPr vert="horz"/>
          <a:lstStyle/>
          <a:p>
            <a:r>
              <a:rPr lang="en-GB" dirty="0">
                <a:latin typeface="Open Sauce One"/>
              </a:rPr>
              <a:t>Weekly Report – CW51 (December 20)</a:t>
            </a:r>
          </a:p>
        </p:txBody>
      </p:sp>
      <p:sp>
        <p:nvSpPr>
          <p:cNvPr id="29" name="Content Placeholder 28">
            <a:extLst>
              <a:ext uri="{FF2B5EF4-FFF2-40B4-BE49-F238E27FC236}">
                <a16:creationId xmlns:a16="http://schemas.microsoft.com/office/drawing/2014/main" id="{06822629-7338-06ED-9798-E440B3F742E8}"/>
              </a:ext>
            </a:extLst>
          </p:cNvPr>
          <p:cNvSpPr>
            <a:spLocks noGrp="1"/>
          </p:cNvSpPr>
          <p:nvPr>
            <p:ph idx="13"/>
          </p:nvPr>
        </p:nvSpPr>
        <p:spPr/>
        <p:txBody>
          <a:bodyPr/>
          <a:lstStyle/>
          <a:p>
            <a:r>
              <a:rPr lang="en-GB"/>
              <a:t>Projects Status &amp; Timeline Review</a:t>
            </a:r>
          </a:p>
        </p:txBody>
      </p:sp>
      <p:pic>
        <p:nvPicPr>
          <p:cNvPr id="33" name="Ábra 72">
            <a:extLst>
              <a:ext uri="{FF2B5EF4-FFF2-40B4-BE49-F238E27FC236}">
                <a16:creationId xmlns:a16="http://schemas.microsoft.com/office/drawing/2014/main" id="{FF020B75-E8A0-F10D-B90B-53932E75F3F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15808" y="1677800"/>
            <a:ext cx="571500" cy="571500"/>
          </a:xfrm>
          <a:prstGeom prst="rect">
            <a:avLst/>
          </a:prstGeom>
        </p:spPr>
      </p:pic>
    </p:spTree>
    <p:extLst>
      <p:ext uri="{BB962C8B-B14F-4D97-AF65-F5344CB8AC3E}">
        <p14:creationId xmlns:p14="http://schemas.microsoft.com/office/powerpoint/2010/main" val="3953336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F667C36-CC60-A095-E175-B9E5FC1DF5FB}"/>
              </a:ext>
            </a:extLst>
          </p:cNvPr>
          <p:cNvGraphicFramePr>
            <a:graphicFrameLocks noChangeAspect="1"/>
          </p:cNvGraphicFramePr>
          <p:nvPr>
            <p:custDataLst>
              <p:tags r:id="rId1"/>
            </p:custDataLst>
            <p:extLst>
              <p:ext uri="{D42A27DB-BD31-4B8C-83A1-F6EECF244321}">
                <p14:modId xmlns:p14="http://schemas.microsoft.com/office/powerpoint/2010/main" val="1506769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4" imgW="395" imgH="394" progId="TCLayout.ActiveDocument.1">
                  <p:embed/>
                </p:oleObj>
              </mc:Choice>
              <mc:Fallback>
                <p:oleObj name="think-cell Slide" r:id="rId234" imgW="395" imgH="394" progId="TCLayout.ActiveDocument.1">
                  <p:embed/>
                  <p:pic>
                    <p:nvPicPr>
                      <p:cNvPr id="7" name="think-cell data - do not delete" hidden="1">
                        <a:extLst>
                          <a:ext uri="{FF2B5EF4-FFF2-40B4-BE49-F238E27FC236}">
                            <a16:creationId xmlns:a16="http://schemas.microsoft.com/office/drawing/2014/main" id="{1F667C36-CC60-A095-E175-B9E5FC1DF5FB}"/>
                          </a:ext>
                        </a:extLst>
                      </p:cNvPr>
                      <p:cNvPicPr/>
                      <p:nvPr/>
                    </p:nvPicPr>
                    <p:blipFill>
                      <a:blip r:embed="rId235"/>
                      <a:stretch>
                        <a:fillRect/>
                      </a:stretch>
                    </p:blipFill>
                    <p:spPr>
                      <a:xfrm>
                        <a:off x="1588" y="1588"/>
                        <a:ext cx="1588" cy="1588"/>
                      </a:xfrm>
                      <a:prstGeom prst="rect">
                        <a:avLst/>
                      </a:prstGeom>
                    </p:spPr>
                  </p:pic>
                </p:oleObj>
              </mc:Fallback>
            </mc:AlternateContent>
          </a:graphicData>
        </a:graphic>
      </p:graphicFrame>
      <p:sp>
        <p:nvSpPr>
          <p:cNvPr id="2" name="Cím 1">
            <a:extLst>
              <a:ext uri="{FF2B5EF4-FFF2-40B4-BE49-F238E27FC236}">
                <a16:creationId xmlns:a16="http://schemas.microsoft.com/office/drawing/2014/main" id="{BE21EF19-570C-C27F-0965-ADAAF432A93E}"/>
              </a:ext>
            </a:extLst>
          </p:cNvPr>
          <p:cNvSpPr>
            <a:spLocks noGrp="1"/>
          </p:cNvSpPr>
          <p:nvPr>
            <p:ph type="title"/>
          </p:nvPr>
        </p:nvSpPr>
        <p:spPr>
          <a:xfrm>
            <a:off x="407988" y="963466"/>
            <a:ext cx="11341100" cy="954107"/>
          </a:xfrm>
        </p:spPr>
        <p:txBody>
          <a:bodyPr vert="horz"/>
          <a:lstStyle/>
          <a:p>
            <a:r>
              <a:rPr lang="de-DE" sz="2800" err="1"/>
              <a:t>Our</a:t>
            </a:r>
            <a:r>
              <a:rPr lang="de-DE" sz="2800"/>
              <a:t> </a:t>
            </a:r>
            <a:r>
              <a:rPr lang="de-DE" sz="2800" err="1"/>
              <a:t>anticipated</a:t>
            </a:r>
            <a:r>
              <a:rPr lang="de-DE" sz="2800"/>
              <a:t> </a:t>
            </a:r>
            <a:r>
              <a:rPr lang="de-DE" sz="2800" err="1"/>
              <a:t>join</a:t>
            </a:r>
            <a:r>
              <a:rPr lang="de-DE" sz="2800"/>
              <a:t> </a:t>
            </a:r>
            <a:r>
              <a:rPr lang="de-DE" sz="2800" err="1"/>
              <a:t>project</a:t>
            </a:r>
            <a:r>
              <a:rPr lang="de-DE" sz="2800"/>
              <a:t> </a:t>
            </a:r>
            <a:r>
              <a:rPr lang="de-DE" sz="2800" err="1"/>
              <a:t>timeline</a:t>
            </a:r>
            <a:r>
              <a:rPr lang="de-DE" sz="2800"/>
              <a:t> </a:t>
            </a:r>
            <a:r>
              <a:rPr lang="de-DE" sz="2800" err="1"/>
              <a:t>is</a:t>
            </a:r>
            <a:r>
              <a:rPr lang="de-DE" sz="2800"/>
              <a:t> </a:t>
            </a:r>
            <a:r>
              <a:rPr lang="de-DE" sz="2800" err="1"/>
              <a:t>targeting</a:t>
            </a:r>
            <a:r>
              <a:rPr lang="de-DE" sz="2800"/>
              <a:t> a </a:t>
            </a:r>
            <a:r>
              <a:rPr lang="de-DE" sz="2800" err="1"/>
              <a:t>go</a:t>
            </a:r>
            <a:r>
              <a:rPr lang="de-DE" sz="2800"/>
              <a:t>-live </a:t>
            </a:r>
            <a:r>
              <a:rPr lang="de-DE" sz="2800" err="1"/>
              <a:t>until</a:t>
            </a:r>
            <a:r>
              <a:rPr lang="de-DE" sz="2800"/>
              <a:t> end </a:t>
            </a:r>
            <a:r>
              <a:rPr lang="de-DE" sz="2800" err="1"/>
              <a:t>of</a:t>
            </a:r>
            <a:r>
              <a:rPr lang="de-DE" sz="2800"/>
              <a:t> Feb 2024</a:t>
            </a:r>
            <a:endParaRPr lang="en-US" sz="2800"/>
          </a:p>
        </p:txBody>
      </p:sp>
      <p:sp>
        <p:nvSpPr>
          <p:cNvPr id="4" name="Dia számának helye 3">
            <a:extLst>
              <a:ext uri="{FF2B5EF4-FFF2-40B4-BE49-F238E27FC236}">
                <a16:creationId xmlns:a16="http://schemas.microsoft.com/office/drawing/2014/main" id="{837120CE-D8AA-F1EF-A594-34586C5BF255}"/>
              </a:ext>
            </a:extLst>
          </p:cNvPr>
          <p:cNvSpPr>
            <a:spLocks noGrp="1"/>
          </p:cNvSpPr>
          <p:nvPr>
            <p:ph type="sldNum" sz="quarter" idx="12"/>
          </p:nvPr>
        </p:nvSpPr>
        <p:spPr>
          <a:xfrm>
            <a:off x="9005886" y="6634163"/>
            <a:ext cx="2743200" cy="246063"/>
          </a:xfrm>
        </p:spPr>
        <p:txBody>
          <a:bodyPr>
            <a:spAutoFit/>
          </a:bodyPr>
          <a:lstStyle/>
          <a:p>
            <a:fld id="{61F2D668-955E-AB45-9B4E-D4D3490B1261}" type="slidenum">
              <a:rPr lang="en-US" smtClean="0">
                <a:solidFill>
                  <a:schemeClr val="tx1"/>
                </a:solidFill>
              </a:rPr>
              <a:t>9</a:t>
            </a:fld>
            <a:endParaRPr lang="en-US">
              <a:solidFill>
                <a:schemeClr val="tx1"/>
              </a:solidFill>
            </a:endParaRPr>
          </a:p>
        </p:txBody>
      </p:sp>
      <p:sp>
        <p:nvSpPr>
          <p:cNvPr id="5" name="Tartalom helye 4">
            <a:extLst>
              <a:ext uri="{FF2B5EF4-FFF2-40B4-BE49-F238E27FC236}">
                <a16:creationId xmlns:a16="http://schemas.microsoft.com/office/drawing/2014/main" id="{156E35B2-BBC4-AFCE-B79E-B8C16542F036}"/>
              </a:ext>
            </a:extLst>
          </p:cNvPr>
          <p:cNvSpPr>
            <a:spLocks noGrp="1"/>
          </p:cNvSpPr>
          <p:nvPr>
            <p:ph idx="13"/>
          </p:nvPr>
        </p:nvSpPr>
        <p:spPr/>
        <p:txBody>
          <a:bodyPr/>
          <a:lstStyle/>
          <a:p>
            <a:r>
              <a:rPr lang="en-GB" sz="1600"/>
              <a:t>Project Status &amp; Timeline Review</a:t>
            </a:r>
          </a:p>
          <a:p>
            <a:endParaRPr lang="en-US"/>
          </a:p>
        </p:txBody>
      </p:sp>
      <p:sp>
        <p:nvSpPr>
          <p:cNvPr id="9" name="Rectangle 8">
            <a:extLst>
              <a:ext uri="{FF2B5EF4-FFF2-40B4-BE49-F238E27FC236}">
                <a16:creationId xmlns:a16="http://schemas.microsoft.com/office/drawing/2014/main" id="{9DFB4F71-D59F-3442-478F-8A0833A0DE6A}"/>
              </a:ext>
            </a:extLst>
          </p:cNvPr>
          <p:cNvSpPr/>
          <p:nvPr>
            <p:custDataLst>
              <p:tags r:id="rId2"/>
            </p:custDataLst>
          </p:nvPr>
        </p:nvSpPr>
        <p:spPr bwMode="auto">
          <a:xfrm>
            <a:off x="6357937" y="2133600"/>
            <a:ext cx="801688" cy="3319463"/>
          </a:xfrm>
          <a:prstGeom prst="rect">
            <a:avLst/>
          </a:prstGeom>
          <a:solidFill>
            <a:srgbClr val="DFE5E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B5EF31F3-AC77-EF92-90FF-DF117A12C044}"/>
              </a:ext>
            </a:extLst>
          </p:cNvPr>
          <p:cNvSpPr/>
          <p:nvPr>
            <p:custDataLst>
              <p:tags r:id="rId3"/>
            </p:custDataLst>
          </p:nvPr>
        </p:nvSpPr>
        <p:spPr bwMode="auto">
          <a:xfrm>
            <a:off x="9378950" y="2133600"/>
            <a:ext cx="307975" cy="3319463"/>
          </a:xfrm>
          <a:prstGeom prst="rect">
            <a:avLst/>
          </a:prstGeom>
          <a:solidFill>
            <a:srgbClr val="DFE5E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platzhalter 2">
            <a:extLst>
              <a:ext uri="{FF2B5EF4-FFF2-40B4-BE49-F238E27FC236}">
                <a16:creationId xmlns:a16="http://schemas.microsoft.com/office/drawing/2014/main" id="{DADD3565-64DD-F653-C998-617524C88A08}"/>
              </a:ext>
            </a:extLst>
          </p:cNvPr>
          <p:cNvSpPr>
            <a:spLocks noGrp="1"/>
          </p:cNvSpPr>
          <p:nvPr>
            <p:custDataLst>
              <p:tags r:id="rId4"/>
            </p:custDataLst>
          </p:nvPr>
        </p:nvSpPr>
        <p:spPr bwMode="auto">
          <a:xfrm>
            <a:off x="4014787" y="1857375"/>
            <a:ext cx="615950"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7A1BD11-9F9C-42A6-8363-1DDCCDB0A10F}" type="datetime'''A''''''''''''''''''''''''''''p''''r'''''''''''''''''">
              <a:rPr lang="en-US" altLang="en-US" sz="800" b="1" smtClean="0">
                <a:solidFill>
                  <a:srgbClr val="000000"/>
                </a:solidFill>
              </a:rPr>
              <a:pPr marL="0" lvl="0" indent="0" algn="ctr">
                <a:spcBef>
                  <a:spcPct val="0"/>
                </a:spcBef>
                <a:spcAft>
                  <a:spcPct val="0"/>
                </a:spcAft>
                <a:buNone/>
                <a:defRPr/>
              </a:pPr>
              <a:t>Apr</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11" name="Textplatzhalter 2">
            <a:extLst>
              <a:ext uri="{FF2B5EF4-FFF2-40B4-BE49-F238E27FC236}">
                <a16:creationId xmlns:a16="http://schemas.microsoft.com/office/drawing/2014/main" id="{9F19C169-97CA-DFBB-19E0-0567A9D58FD3}"/>
              </a:ext>
            </a:extLst>
          </p:cNvPr>
          <p:cNvSpPr>
            <a:spLocks noGrp="1"/>
          </p:cNvSpPr>
          <p:nvPr>
            <p:custDataLst>
              <p:tags r:id="rId5"/>
            </p:custDataLst>
          </p:nvPr>
        </p:nvSpPr>
        <p:spPr bwMode="auto">
          <a:xfrm>
            <a:off x="4630738" y="1857375"/>
            <a:ext cx="6381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0BFE277-8B3B-4D84-AB90-FE96A24C48D4}" type="datetime'''''''M''''''''''''''''''''''''''''''''''''''''''''''''ay'''''">
              <a:rPr lang="en-US" altLang="en-US" sz="800" b="1" smtClean="0">
                <a:solidFill>
                  <a:srgbClr val="000000"/>
                </a:solidFill>
              </a:rPr>
              <a:pPr marL="0" lvl="0" indent="0" algn="ctr">
                <a:spcBef>
                  <a:spcPct val="0"/>
                </a:spcBef>
                <a:spcAft>
                  <a:spcPct val="0"/>
                </a:spcAft>
                <a:buNone/>
                <a:defRPr/>
              </a:pPr>
              <a:t>May</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12" name="Textplatzhalter 2">
            <a:extLst>
              <a:ext uri="{FF2B5EF4-FFF2-40B4-BE49-F238E27FC236}">
                <a16:creationId xmlns:a16="http://schemas.microsoft.com/office/drawing/2014/main" id="{B0A6D696-E8DB-020D-E8F1-5301A9ADEC43}"/>
              </a:ext>
            </a:extLst>
          </p:cNvPr>
          <p:cNvSpPr>
            <a:spLocks noGrp="1"/>
          </p:cNvSpPr>
          <p:nvPr>
            <p:custDataLst>
              <p:tags r:id="rId6"/>
            </p:custDataLst>
          </p:nvPr>
        </p:nvSpPr>
        <p:spPr bwMode="auto">
          <a:xfrm>
            <a:off x="5268912" y="1857375"/>
            <a:ext cx="615950"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5B41D44-5F7F-4B48-90D7-F79D19FE89E5}" type="datetime'''J''''''''''''''''u''''''''n'''''''''''''">
              <a:rPr lang="en-US" altLang="en-US" sz="800" b="1" smtClean="0">
                <a:solidFill>
                  <a:srgbClr val="000000"/>
                </a:solidFill>
              </a:rPr>
              <a:pPr marL="0" lvl="0" indent="0" algn="ctr">
                <a:spcBef>
                  <a:spcPct val="0"/>
                </a:spcBef>
                <a:spcAft>
                  <a:spcPct val="0"/>
                </a:spcAft>
                <a:buNone/>
                <a:defRPr/>
              </a:pPr>
              <a:t>Jun</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13" name="Textplatzhalter 2">
            <a:extLst>
              <a:ext uri="{FF2B5EF4-FFF2-40B4-BE49-F238E27FC236}">
                <a16:creationId xmlns:a16="http://schemas.microsoft.com/office/drawing/2014/main" id="{73B33549-F875-BDA6-F830-3ED5E8E78143}"/>
              </a:ext>
            </a:extLst>
          </p:cNvPr>
          <p:cNvSpPr>
            <a:spLocks noGrp="1"/>
          </p:cNvSpPr>
          <p:nvPr>
            <p:custDataLst>
              <p:tags r:id="rId7"/>
            </p:custDataLst>
          </p:nvPr>
        </p:nvSpPr>
        <p:spPr bwMode="auto">
          <a:xfrm>
            <a:off x="5884862" y="1857375"/>
            <a:ext cx="636588"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CEAA2F3-DB98-41A1-9D47-CB9B1E651DCA}" type="datetime'''''''''''''''''''''''''''''''''''''''J''''''u''''''''l'''''''">
              <a:rPr lang="en-US" altLang="en-US" sz="800" b="1" smtClean="0">
                <a:solidFill>
                  <a:srgbClr val="000000"/>
                </a:solidFill>
              </a:rPr>
              <a:pPr marL="0" lvl="0" indent="0" algn="ctr">
                <a:spcBef>
                  <a:spcPct val="0"/>
                </a:spcBef>
                <a:spcAft>
                  <a:spcPct val="0"/>
                </a:spcAft>
                <a:buNone/>
                <a:defRPr/>
              </a:pPr>
              <a:t>Jul</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14" name="Textplatzhalter 2">
            <a:extLst>
              <a:ext uri="{FF2B5EF4-FFF2-40B4-BE49-F238E27FC236}">
                <a16:creationId xmlns:a16="http://schemas.microsoft.com/office/drawing/2014/main" id="{260E6B27-0998-F967-3E53-57C8E1A4AFDE}"/>
              </a:ext>
            </a:extLst>
          </p:cNvPr>
          <p:cNvSpPr>
            <a:spLocks noGrp="1"/>
          </p:cNvSpPr>
          <p:nvPr>
            <p:custDataLst>
              <p:tags r:id="rId8"/>
            </p:custDataLst>
          </p:nvPr>
        </p:nvSpPr>
        <p:spPr bwMode="auto">
          <a:xfrm>
            <a:off x="6521450" y="1857375"/>
            <a:ext cx="6381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0CE868-747D-4896-90DD-05FC4B645113}" type="datetime'''''''''''''''''''A''''''''''''''''''''''''''u''''''''''''''g'">
              <a:rPr lang="en-US" altLang="en-US" sz="800" b="1" smtClean="0">
                <a:solidFill>
                  <a:srgbClr val="000000"/>
                </a:solidFill>
              </a:rPr>
              <a:pPr marL="0" lvl="0" indent="0" algn="ctr">
                <a:spcBef>
                  <a:spcPct val="0"/>
                </a:spcBef>
                <a:spcAft>
                  <a:spcPct val="0"/>
                </a:spcAft>
                <a:buNone/>
                <a:defRPr/>
              </a:pPr>
              <a:t>Aug</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15" name="Textplatzhalter 2">
            <a:extLst>
              <a:ext uri="{FF2B5EF4-FFF2-40B4-BE49-F238E27FC236}">
                <a16:creationId xmlns:a16="http://schemas.microsoft.com/office/drawing/2014/main" id="{B09BCE92-2C95-E2FF-5846-E507D276EDE5}"/>
              </a:ext>
            </a:extLst>
          </p:cNvPr>
          <p:cNvSpPr>
            <a:spLocks noGrp="1"/>
          </p:cNvSpPr>
          <p:nvPr>
            <p:custDataLst>
              <p:tags r:id="rId9"/>
            </p:custDataLst>
          </p:nvPr>
        </p:nvSpPr>
        <p:spPr bwMode="auto">
          <a:xfrm>
            <a:off x="7159624" y="1857375"/>
            <a:ext cx="615950"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17DA1A8-CB39-4201-B09B-DEA4A3FCB916}" type="datetime'''''''''''S''''e''''''p'''''''''''''''''''''''''''''''''''">
              <a:rPr lang="en-US" altLang="en-US" sz="800" b="1" smtClean="0">
                <a:solidFill>
                  <a:srgbClr val="000000"/>
                </a:solidFill>
              </a:rPr>
              <a:pPr marL="0" lvl="0" indent="0" algn="ctr">
                <a:spcBef>
                  <a:spcPct val="0"/>
                </a:spcBef>
                <a:spcAft>
                  <a:spcPct val="0"/>
                </a:spcAft>
                <a:buNone/>
                <a:defRPr/>
              </a:pPr>
              <a:t>Sep</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16" name="Textplatzhalter 2">
            <a:extLst>
              <a:ext uri="{FF2B5EF4-FFF2-40B4-BE49-F238E27FC236}">
                <a16:creationId xmlns:a16="http://schemas.microsoft.com/office/drawing/2014/main" id="{9EA94B67-9617-4307-3CAF-3C390A1E3E92}"/>
              </a:ext>
            </a:extLst>
          </p:cNvPr>
          <p:cNvSpPr>
            <a:spLocks noGrp="1"/>
          </p:cNvSpPr>
          <p:nvPr>
            <p:custDataLst>
              <p:tags r:id="rId10"/>
            </p:custDataLst>
          </p:nvPr>
        </p:nvSpPr>
        <p:spPr bwMode="auto">
          <a:xfrm>
            <a:off x="7775575" y="1857375"/>
            <a:ext cx="6381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70A048D-C0A8-4BE5-B72B-81565DD63B12}" type="datetime'''''''''''''''O''''c''''''''''''''''''''''t'''''''''''''''">
              <a:rPr lang="en-US" altLang="en-US" sz="800" b="1" smtClean="0">
                <a:solidFill>
                  <a:srgbClr val="000000"/>
                </a:solidFill>
              </a:rPr>
              <a:pPr marL="0" lvl="0" indent="0" algn="ctr">
                <a:spcBef>
                  <a:spcPct val="0"/>
                </a:spcBef>
                <a:spcAft>
                  <a:spcPct val="0"/>
                </a:spcAft>
                <a:buNone/>
                <a:defRPr/>
              </a:pPr>
              <a:t>Oct</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17" name="Textplatzhalter 2">
            <a:extLst>
              <a:ext uri="{FF2B5EF4-FFF2-40B4-BE49-F238E27FC236}">
                <a16:creationId xmlns:a16="http://schemas.microsoft.com/office/drawing/2014/main" id="{BB311B17-C01A-87A4-F6A5-D19F81B046C1}"/>
              </a:ext>
            </a:extLst>
          </p:cNvPr>
          <p:cNvSpPr>
            <a:spLocks noGrp="1"/>
          </p:cNvSpPr>
          <p:nvPr>
            <p:custDataLst>
              <p:tags r:id="rId11"/>
            </p:custDataLst>
          </p:nvPr>
        </p:nvSpPr>
        <p:spPr bwMode="auto">
          <a:xfrm>
            <a:off x="8413750" y="1857375"/>
            <a:ext cx="615950"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725DCD0-89B3-42DC-B2E7-61584EEF1724}" type="datetime'''''''''''No''''''''''''''''''''''''v'''''''''''">
              <a:rPr lang="en-US" altLang="en-US" sz="800" b="1" smtClean="0">
                <a:solidFill>
                  <a:srgbClr val="000000"/>
                </a:solidFill>
              </a:rPr>
              <a:pPr marL="0" lvl="0" indent="0" algn="ctr">
                <a:spcBef>
                  <a:spcPct val="0"/>
                </a:spcBef>
                <a:spcAft>
                  <a:spcPct val="0"/>
                </a:spcAft>
                <a:buNone/>
                <a:defRPr/>
              </a:pPr>
              <a:t>Nov</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18" name="Textplatzhalter 2">
            <a:extLst>
              <a:ext uri="{FF2B5EF4-FFF2-40B4-BE49-F238E27FC236}">
                <a16:creationId xmlns:a16="http://schemas.microsoft.com/office/drawing/2014/main" id="{B9369D99-86E7-6754-E84B-4B19687A4055}"/>
              </a:ext>
            </a:extLst>
          </p:cNvPr>
          <p:cNvSpPr>
            <a:spLocks noGrp="1"/>
          </p:cNvSpPr>
          <p:nvPr>
            <p:custDataLst>
              <p:tags r:id="rId12"/>
            </p:custDataLst>
          </p:nvPr>
        </p:nvSpPr>
        <p:spPr bwMode="auto">
          <a:xfrm>
            <a:off x="9029699" y="1857375"/>
            <a:ext cx="636588"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4D6A932-981F-4695-B852-EF3D674D1215}" type="datetime'''''''''D''''''''''''''''''''''''''''''e''''c'''''''''''">
              <a:rPr lang="en-US" altLang="en-US" sz="800" b="1" smtClean="0">
                <a:solidFill>
                  <a:srgbClr val="000000"/>
                </a:solidFill>
              </a:rPr>
              <a:pPr marL="0" lvl="0" indent="0" algn="ctr">
                <a:spcBef>
                  <a:spcPct val="0"/>
                </a:spcBef>
                <a:spcAft>
                  <a:spcPct val="0"/>
                </a:spcAft>
                <a:buNone/>
                <a:defRPr/>
              </a:pPr>
              <a:t>Dec</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19" name="Textplatzhalter 2">
            <a:extLst>
              <a:ext uri="{FF2B5EF4-FFF2-40B4-BE49-F238E27FC236}">
                <a16:creationId xmlns:a16="http://schemas.microsoft.com/office/drawing/2014/main" id="{83FF59E6-13BE-14E9-DBFB-53FD43F412BB}"/>
              </a:ext>
            </a:extLst>
          </p:cNvPr>
          <p:cNvSpPr>
            <a:spLocks noGrp="1"/>
          </p:cNvSpPr>
          <p:nvPr>
            <p:custDataLst>
              <p:tags r:id="rId13"/>
            </p:custDataLst>
          </p:nvPr>
        </p:nvSpPr>
        <p:spPr bwMode="auto">
          <a:xfrm>
            <a:off x="9666288" y="1857375"/>
            <a:ext cx="6381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197E3E8-6771-4066-B8A5-F6C4652384F8}" type="datetime'''''''J''''''''''''a''''''''''''''''''''''''''n'">
              <a:rPr lang="en-US" altLang="en-US" sz="800" b="1" smtClean="0">
                <a:solidFill>
                  <a:srgbClr val="000000"/>
                </a:solidFill>
              </a:rPr>
              <a:pPr marL="0" lvl="0" indent="0" algn="ctr">
                <a:spcBef>
                  <a:spcPct val="0"/>
                </a:spcBef>
                <a:spcAft>
                  <a:spcPct val="0"/>
                </a:spcAft>
                <a:buNone/>
                <a:defRPr/>
              </a:pPr>
              <a:t>Jan</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0" name="Textplatzhalter 2">
            <a:extLst>
              <a:ext uri="{FF2B5EF4-FFF2-40B4-BE49-F238E27FC236}">
                <a16:creationId xmlns:a16="http://schemas.microsoft.com/office/drawing/2014/main" id="{71760971-C251-302F-92CD-3594EA706CCA}"/>
              </a:ext>
            </a:extLst>
          </p:cNvPr>
          <p:cNvSpPr>
            <a:spLocks noGrp="1"/>
          </p:cNvSpPr>
          <p:nvPr>
            <p:custDataLst>
              <p:tags r:id="rId14"/>
            </p:custDataLst>
          </p:nvPr>
        </p:nvSpPr>
        <p:spPr bwMode="auto">
          <a:xfrm>
            <a:off x="10304463" y="1857375"/>
            <a:ext cx="59531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4E47A07-E084-4F9C-AF40-A1B69699539F}" type="datetime'F''''''''''''''''''''''''''''e''''''''''''''b'''">
              <a:rPr lang="en-US" altLang="en-US" sz="800" b="1" smtClean="0">
                <a:solidFill>
                  <a:srgbClr val="000000"/>
                </a:solidFill>
              </a:rPr>
              <a:pPr marL="0" lvl="0" indent="0" algn="ctr">
                <a:spcBef>
                  <a:spcPct val="0"/>
                </a:spcBef>
                <a:spcAft>
                  <a:spcPct val="0"/>
                </a:spcAft>
                <a:buNone/>
                <a:defRPr/>
              </a:pPr>
              <a:t>Feb</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1" name="Textplatzhalter 2">
            <a:extLst>
              <a:ext uri="{FF2B5EF4-FFF2-40B4-BE49-F238E27FC236}">
                <a16:creationId xmlns:a16="http://schemas.microsoft.com/office/drawing/2014/main" id="{70407586-EC3D-9E0E-0876-F7043FFDE6D6}"/>
              </a:ext>
            </a:extLst>
          </p:cNvPr>
          <p:cNvSpPr>
            <a:spLocks noGrp="1"/>
          </p:cNvSpPr>
          <p:nvPr>
            <p:custDataLst>
              <p:tags r:id="rId15"/>
            </p:custDataLst>
          </p:nvPr>
        </p:nvSpPr>
        <p:spPr bwMode="auto">
          <a:xfrm>
            <a:off x="4014788" y="1995488"/>
            <a:ext cx="412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2" name="Textplatzhalter 2">
            <a:extLst>
              <a:ext uri="{FF2B5EF4-FFF2-40B4-BE49-F238E27FC236}">
                <a16:creationId xmlns:a16="http://schemas.microsoft.com/office/drawing/2014/main" id="{B42C536B-C963-1F9A-DE3B-18BFC857ADE0}"/>
              </a:ext>
            </a:extLst>
          </p:cNvPr>
          <p:cNvSpPr>
            <a:spLocks noGrp="1"/>
          </p:cNvSpPr>
          <p:nvPr>
            <p:custDataLst>
              <p:tags r:id="rId16"/>
            </p:custDataLst>
          </p:nvPr>
        </p:nvSpPr>
        <p:spPr bwMode="auto">
          <a:xfrm>
            <a:off x="4056063"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B7D3888-DCDE-4775-985A-F3CD91FAB9D5}" type="datetime'''''''''''''''''''''''''''''''''''''''''1''''''4'''''''''''">
              <a:rPr lang="en-GB" altLang="en-US" sz="800" b="1" smtClean="0">
                <a:solidFill>
                  <a:srgbClr val="000000"/>
                </a:solidFill>
              </a:rPr>
              <a:pPr marL="0" lvl="0" indent="0" algn="ctr">
                <a:spcBef>
                  <a:spcPct val="0"/>
                </a:spcBef>
                <a:spcAft>
                  <a:spcPct val="0"/>
                </a:spcAft>
                <a:buNone/>
                <a:defRPr/>
              </a:pPr>
              <a:t>14</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3" name="Textplatzhalter 2">
            <a:extLst>
              <a:ext uri="{FF2B5EF4-FFF2-40B4-BE49-F238E27FC236}">
                <a16:creationId xmlns:a16="http://schemas.microsoft.com/office/drawing/2014/main" id="{B9833737-7653-095F-6627-D29139397F37}"/>
              </a:ext>
            </a:extLst>
          </p:cNvPr>
          <p:cNvSpPr>
            <a:spLocks noGrp="1"/>
          </p:cNvSpPr>
          <p:nvPr>
            <p:custDataLst>
              <p:tags r:id="rId17"/>
            </p:custDataLst>
          </p:nvPr>
        </p:nvSpPr>
        <p:spPr bwMode="auto">
          <a:xfrm>
            <a:off x="4200525"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0B674F3-EBC5-4899-B154-C3DC0164BD51}" type="datetime'''''''''''''''''''''''''1''5'''">
              <a:rPr lang="en-GB" altLang="en-US" sz="800" b="1" smtClean="0">
                <a:solidFill>
                  <a:srgbClr val="000000"/>
                </a:solidFill>
              </a:rPr>
              <a:pPr marL="0" lvl="0" indent="0" algn="ctr">
                <a:spcBef>
                  <a:spcPct val="0"/>
                </a:spcBef>
                <a:spcAft>
                  <a:spcPct val="0"/>
                </a:spcAft>
                <a:buNone/>
                <a:defRPr/>
              </a:pPr>
              <a:t>15</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4" name="Textplatzhalter 2">
            <a:extLst>
              <a:ext uri="{FF2B5EF4-FFF2-40B4-BE49-F238E27FC236}">
                <a16:creationId xmlns:a16="http://schemas.microsoft.com/office/drawing/2014/main" id="{C1E6A596-3543-8F05-2C1E-9353BCB988BC}"/>
              </a:ext>
            </a:extLst>
          </p:cNvPr>
          <p:cNvSpPr>
            <a:spLocks noGrp="1"/>
          </p:cNvSpPr>
          <p:nvPr>
            <p:custDataLst>
              <p:tags r:id="rId18"/>
            </p:custDataLst>
          </p:nvPr>
        </p:nvSpPr>
        <p:spPr bwMode="auto">
          <a:xfrm>
            <a:off x="4343400"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3D20DF4-341B-4C35-B238-2497BA76869C}" type="datetime'''''''''''''''1''''''6'''''''''''''''''">
              <a:rPr lang="en-GB" altLang="en-US" sz="800" b="1" smtClean="0">
                <a:solidFill>
                  <a:srgbClr val="000000"/>
                </a:solidFill>
              </a:rPr>
              <a:pPr marL="0" lvl="0" indent="0" algn="ctr">
                <a:spcBef>
                  <a:spcPct val="0"/>
                </a:spcBef>
                <a:spcAft>
                  <a:spcPct val="0"/>
                </a:spcAft>
                <a:buNone/>
                <a:defRPr/>
              </a:pPr>
              <a:t>16</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5" name="Textplatzhalter 2">
            <a:extLst>
              <a:ext uri="{FF2B5EF4-FFF2-40B4-BE49-F238E27FC236}">
                <a16:creationId xmlns:a16="http://schemas.microsoft.com/office/drawing/2014/main" id="{55E7578B-D79B-84A0-41E4-4BBFCF2ABEDC}"/>
              </a:ext>
            </a:extLst>
          </p:cNvPr>
          <p:cNvSpPr>
            <a:spLocks noGrp="1"/>
          </p:cNvSpPr>
          <p:nvPr>
            <p:custDataLst>
              <p:tags r:id="rId19"/>
            </p:custDataLst>
          </p:nvPr>
        </p:nvSpPr>
        <p:spPr bwMode="auto">
          <a:xfrm>
            <a:off x="4487863"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B0E92E1-07DF-4F99-B920-D3B3B71462DA}" type="datetime'''''''''''''''''1''''''''''''''''''''''''''''7'''''''''''">
              <a:rPr lang="en-GB" altLang="en-US" sz="800" b="1" smtClean="0">
                <a:solidFill>
                  <a:srgbClr val="000000"/>
                </a:solidFill>
              </a:rPr>
              <a:pPr marL="0" lvl="0" indent="0" algn="ctr">
                <a:spcBef>
                  <a:spcPct val="0"/>
                </a:spcBef>
                <a:spcAft>
                  <a:spcPct val="0"/>
                </a:spcAft>
                <a:buNone/>
                <a:defRPr/>
              </a:pPr>
              <a:t>17</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6" name="Textplatzhalter 2">
            <a:extLst>
              <a:ext uri="{FF2B5EF4-FFF2-40B4-BE49-F238E27FC236}">
                <a16:creationId xmlns:a16="http://schemas.microsoft.com/office/drawing/2014/main" id="{1C99399F-DCB0-809F-EA89-FBCE9C7D09F0}"/>
              </a:ext>
            </a:extLst>
          </p:cNvPr>
          <p:cNvSpPr>
            <a:spLocks noGrp="1"/>
          </p:cNvSpPr>
          <p:nvPr>
            <p:custDataLst>
              <p:tags r:id="rId20"/>
            </p:custDataLst>
          </p:nvPr>
        </p:nvSpPr>
        <p:spPr bwMode="auto">
          <a:xfrm>
            <a:off x="4630738"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635FD32-D85E-4390-A0BC-E7AF25EF65A9}" type="datetime'''''''''''''''''''''''''1''''8'''''">
              <a:rPr lang="en-GB" altLang="en-US" sz="800" b="1" smtClean="0">
                <a:solidFill>
                  <a:srgbClr val="000000"/>
                </a:solidFill>
              </a:rPr>
              <a:pPr marL="0" lvl="0" indent="0" algn="ctr">
                <a:spcBef>
                  <a:spcPct val="0"/>
                </a:spcBef>
                <a:spcAft>
                  <a:spcPct val="0"/>
                </a:spcAft>
                <a:buNone/>
                <a:defRPr/>
              </a:pPr>
              <a:t>18</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7" name="Textplatzhalter 2">
            <a:extLst>
              <a:ext uri="{FF2B5EF4-FFF2-40B4-BE49-F238E27FC236}">
                <a16:creationId xmlns:a16="http://schemas.microsoft.com/office/drawing/2014/main" id="{27AD783D-BADA-2AEF-509F-170F4BC39963}"/>
              </a:ext>
            </a:extLst>
          </p:cNvPr>
          <p:cNvSpPr>
            <a:spLocks noGrp="1"/>
          </p:cNvSpPr>
          <p:nvPr>
            <p:custDataLst>
              <p:tags r:id="rId21"/>
            </p:custDataLst>
          </p:nvPr>
        </p:nvSpPr>
        <p:spPr bwMode="auto">
          <a:xfrm>
            <a:off x="4775200"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34A376F-26C1-4B62-9AB3-C145D09598FE}" type="datetime'''''1''''''''''''''''9'''''''''''''''''''''''''''''''''''">
              <a:rPr lang="en-GB" altLang="en-US" sz="800" b="1" smtClean="0">
                <a:solidFill>
                  <a:srgbClr val="000000"/>
                </a:solidFill>
              </a:rPr>
              <a:pPr marL="0" lvl="0" indent="0" algn="ctr">
                <a:spcBef>
                  <a:spcPct val="0"/>
                </a:spcBef>
                <a:spcAft>
                  <a:spcPct val="0"/>
                </a:spcAft>
                <a:buNone/>
                <a:defRPr/>
              </a:pPr>
              <a:t>19</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8" name="Textplatzhalter 2">
            <a:extLst>
              <a:ext uri="{FF2B5EF4-FFF2-40B4-BE49-F238E27FC236}">
                <a16:creationId xmlns:a16="http://schemas.microsoft.com/office/drawing/2014/main" id="{CD16BB38-6F19-C706-219D-314BF3FC599D}"/>
              </a:ext>
            </a:extLst>
          </p:cNvPr>
          <p:cNvSpPr>
            <a:spLocks noGrp="1"/>
          </p:cNvSpPr>
          <p:nvPr>
            <p:custDataLst>
              <p:tags r:id="rId22"/>
            </p:custDataLst>
          </p:nvPr>
        </p:nvSpPr>
        <p:spPr bwMode="auto">
          <a:xfrm>
            <a:off x="4919663"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A7AEC89-23FB-42AB-878E-F3CBCFBFB7D2}" type="datetime'''''''''''2''''''''''''''''''''''''0'''''''''''''''''''''''''">
              <a:rPr lang="en-GB" altLang="en-US" sz="800" b="1" smtClean="0">
                <a:solidFill>
                  <a:srgbClr val="000000"/>
                </a:solidFill>
              </a:rPr>
              <a:pPr marL="0" lvl="0" indent="0" algn="ctr">
                <a:spcBef>
                  <a:spcPct val="0"/>
                </a:spcBef>
                <a:spcAft>
                  <a:spcPct val="0"/>
                </a:spcAft>
                <a:buNone/>
                <a:defRPr/>
              </a:pPr>
              <a:t>20</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9" name="Textplatzhalter 2">
            <a:extLst>
              <a:ext uri="{FF2B5EF4-FFF2-40B4-BE49-F238E27FC236}">
                <a16:creationId xmlns:a16="http://schemas.microsoft.com/office/drawing/2014/main" id="{4FB63A61-07D0-A6BF-4A1B-421D44C82950}"/>
              </a:ext>
            </a:extLst>
          </p:cNvPr>
          <p:cNvSpPr>
            <a:spLocks noGrp="1"/>
          </p:cNvSpPr>
          <p:nvPr>
            <p:custDataLst>
              <p:tags r:id="rId23"/>
            </p:custDataLst>
          </p:nvPr>
        </p:nvSpPr>
        <p:spPr bwMode="auto">
          <a:xfrm>
            <a:off x="5062538"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A0A4A9A-C5DC-4E78-9942-A667AAEDDF9A}" type="datetime'''''2''''''''1'''''''''''''''''">
              <a:rPr lang="en-GB" altLang="en-US" sz="800" b="1" smtClean="0">
                <a:solidFill>
                  <a:srgbClr val="000000"/>
                </a:solidFill>
              </a:rPr>
              <a:pPr marL="0" lvl="0" indent="0" algn="ctr">
                <a:spcBef>
                  <a:spcPct val="0"/>
                </a:spcBef>
                <a:spcAft>
                  <a:spcPct val="0"/>
                </a:spcAft>
                <a:buNone/>
                <a:defRPr/>
              </a:pPr>
              <a:t>21</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0" name="Textplatzhalter 2">
            <a:extLst>
              <a:ext uri="{FF2B5EF4-FFF2-40B4-BE49-F238E27FC236}">
                <a16:creationId xmlns:a16="http://schemas.microsoft.com/office/drawing/2014/main" id="{A9E61E41-DA4C-C2FD-4145-934A3DE0A7CA}"/>
              </a:ext>
            </a:extLst>
          </p:cNvPr>
          <p:cNvSpPr>
            <a:spLocks noGrp="1"/>
          </p:cNvSpPr>
          <p:nvPr>
            <p:custDataLst>
              <p:tags r:id="rId24"/>
            </p:custDataLst>
          </p:nvPr>
        </p:nvSpPr>
        <p:spPr bwMode="auto">
          <a:xfrm>
            <a:off x="5207000"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A9198D4-3835-4326-A8E0-0B0E7232AECD}" type="datetime'''''''''22'">
              <a:rPr lang="en-GB" altLang="en-US" sz="800" b="1" smtClean="0">
                <a:solidFill>
                  <a:srgbClr val="000000"/>
                </a:solidFill>
              </a:rPr>
              <a:pPr marL="0" lvl="0" indent="0" algn="ctr">
                <a:spcBef>
                  <a:spcPct val="0"/>
                </a:spcBef>
                <a:spcAft>
                  <a:spcPct val="0"/>
                </a:spcAft>
                <a:buNone/>
                <a:defRPr/>
              </a:pPr>
              <a:t>22</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1" name="Textplatzhalter 2">
            <a:extLst>
              <a:ext uri="{FF2B5EF4-FFF2-40B4-BE49-F238E27FC236}">
                <a16:creationId xmlns:a16="http://schemas.microsoft.com/office/drawing/2014/main" id="{127F9E5C-7D60-E10A-72BD-947181265C90}"/>
              </a:ext>
            </a:extLst>
          </p:cNvPr>
          <p:cNvSpPr>
            <a:spLocks noGrp="1"/>
          </p:cNvSpPr>
          <p:nvPr>
            <p:custDataLst>
              <p:tags r:id="rId25"/>
            </p:custDataLst>
          </p:nvPr>
        </p:nvSpPr>
        <p:spPr bwMode="auto">
          <a:xfrm>
            <a:off x="5351463"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9CF7AB3-AAA7-4C24-942F-DF54F7CF8F05}" type="datetime'''''''''''''''''''''''''''''''''''''''''''''''''''2''''3'''''">
              <a:rPr lang="en-GB" altLang="en-US" sz="800" b="1" smtClean="0">
                <a:solidFill>
                  <a:srgbClr val="000000"/>
                </a:solidFill>
              </a:rPr>
              <a:pPr marL="0" lvl="0" indent="0" algn="ctr">
                <a:spcBef>
                  <a:spcPct val="0"/>
                </a:spcBef>
                <a:spcAft>
                  <a:spcPct val="0"/>
                </a:spcAft>
                <a:buNone/>
                <a:defRPr/>
              </a:pPr>
              <a:t>23</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2" name="Textplatzhalter 2">
            <a:extLst>
              <a:ext uri="{FF2B5EF4-FFF2-40B4-BE49-F238E27FC236}">
                <a16:creationId xmlns:a16="http://schemas.microsoft.com/office/drawing/2014/main" id="{2DF7FED5-0CF9-D309-8CAD-3AA110C66B69}"/>
              </a:ext>
            </a:extLst>
          </p:cNvPr>
          <p:cNvSpPr>
            <a:spLocks noGrp="1"/>
          </p:cNvSpPr>
          <p:nvPr>
            <p:custDataLst>
              <p:tags r:id="rId26"/>
            </p:custDataLst>
          </p:nvPr>
        </p:nvSpPr>
        <p:spPr bwMode="auto">
          <a:xfrm>
            <a:off x="5494338"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587D924-7BCF-4EB3-9A34-97A74C0DD14B}" type="datetime'''''''''''''''''''''''''''''2''''''''''''''4'''''''''''''">
              <a:rPr lang="en-GB" altLang="en-US" sz="800" b="1" smtClean="0">
                <a:solidFill>
                  <a:srgbClr val="000000"/>
                </a:solidFill>
              </a:rPr>
              <a:pPr marL="0" lvl="0" indent="0" algn="ctr">
                <a:spcBef>
                  <a:spcPct val="0"/>
                </a:spcBef>
                <a:spcAft>
                  <a:spcPct val="0"/>
                </a:spcAft>
                <a:buNone/>
                <a:defRPr/>
              </a:pPr>
              <a:t>24</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3" name="Textplatzhalter 2">
            <a:extLst>
              <a:ext uri="{FF2B5EF4-FFF2-40B4-BE49-F238E27FC236}">
                <a16:creationId xmlns:a16="http://schemas.microsoft.com/office/drawing/2014/main" id="{6322D276-8900-F343-9DB8-5F4DB34A6485}"/>
              </a:ext>
            </a:extLst>
          </p:cNvPr>
          <p:cNvSpPr>
            <a:spLocks noGrp="1"/>
          </p:cNvSpPr>
          <p:nvPr>
            <p:custDataLst>
              <p:tags r:id="rId27"/>
            </p:custDataLst>
          </p:nvPr>
        </p:nvSpPr>
        <p:spPr bwMode="auto">
          <a:xfrm>
            <a:off x="5638800"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2D7102D-B669-40F4-A3B4-2A99F402D1FE}" type="datetime'''''''2''''''''''''''''''''''''''''''''5'''''''''''''''''">
              <a:rPr lang="en-GB" altLang="en-US" sz="800" b="1" smtClean="0">
                <a:solidFill>
                  <a:srgbClr val="000000"/>
                </a:solidFill>
              </a:rPr>
              <a:pPr marL="0" lvl="0" indent="0" algn="ctr">
                <a:spcBef>
                  <a:spcPct val="0"/>
                </a:spcBef>
                <a:spcAft>
                  <a:spcPct val="0"/>
                </a:spcAft>
                <a:buNone/>
                <a:defRPr/>
              </a:pPr>
              <a:t>25</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4" name="Textplatzhalter 2">
            <a:extLst>
              <a:ext uri="{FF2B5EF4-FFF2-40B4-BE49-F238E27FC236}">
                <a16:creationId xmlns:a16="http://schemas.microsoft.com/office/drawing/2014/main" id="{2ABA4105-2BF5-406E-09BE-A243DF56CA8B}"/>
              </a:ext>
            </a:extLst>
          </p:cNvPr>
          <p:cNvSpPr>
            <a:spLocks noGrp="1"/>
          </p:cNvSpPr>
          <p:nvPr>
            <p:custDataLst>
              <p:tags r:id="rId28"/>
            </p:custDataLst>
          </p:nvPr>
        </p:nvSpPr>
        <p:spPr bwMode="auto">
          <a:xfrm>
            <a:off x="5781675"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01EE981-0F82-453B-971B-7749D3B1299E}" type="datetime'2''''''''''6'''">
              <a:rPr lang="en-GB" altLang="en-US" sz="800" b="1" smtClean="0">
                <a:solidFill>
                  <a:srgbClr val="000000"/>
                </a:solidFill>
              </a:rPr>
              <a:pPr marL="0" lvl="0" indent="0" algn="ctr">
                <a:spcBef>
                  <a:spcPct val="0"/>
                </a:spcBef>
                <a:spcAft>
                  <a:spcPct val="0"/>
                </a:spcAft>
                <a:buNone/>
                <a:defRPr/>
              </a:pPr>
              <a:t>26</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5" name="Textplatzhalter 2">
            <a:extLst>
              <a:ext uri="{FF2B5EF4-FFF2-40B4-BE49-F238E27FC236}">
                <a16:creationId xmlns:a16="http://schemas.microsoft.com/office/drawing/2014/main" id="{3B27BF8D-5D11-05A7-D57A-78EBC6D40930}"/>
              </a:ext>
            </a:extLst>
          </p:cNvPr>
          <p:cNvSpPr>
            <a:spLocks noGrp="1"/>
          </p:cNvSpPr>
          <p:nvPr>
            <p:custDataLst>
              <p:tags r:id="rId29"/>
            </p:custDataLst>
          </p:nvPr>
        </p:nvSpPr>
        <p:spPr bwMode="auto">
          <a:xfrm>
            <a:off x="5926138"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C6B29C3-6956-472A-AFEF-30EF5B7FDD73}" type="datetime'''''''''''''''''''''''''''''''''''''''''''''2''''''''''''''7'">
              <a:rPr lang="en-GB" altLang="en-US" sz="800" b="1" smtClean="0">
                <a:solidFill>
                  <a:srgbClr val="000000"/>
                </a:solidFill>
              </a:rPr>
              <a:pPr marL="0" lvl="0" indent="0" algn="ctr">
                <a:spcBef>
                  <a:spcPct val="0"/>
                </a:spcBef>
                <a:spcAft>
                  <a:spcPct val="0"/>
                </a:spcAft>
                <a:buNone/>
                <a:defRPr/>
              </a:pPr>
              <a:t>27</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6" name="Textplatzhalter 2">
            <a:extLst>
              <a:ext uri="{FF2B5EF4-FFF2-40B4-BE49-F238E27FC236}">
                <a16:creationId xmlns:a16="http://schemas.microsoft.com/office/drawing/2014/main" id="{BB3E1D5D-C3E9-76A1-60C2-16927A361FD3}"/>
              </a:ext>
            </a:extLst>
          </p:cNvPr>
          <p:cNvSpPr>
            <a:spLocks noGrp="1"/>
          </p:cNvSpPr>
          <p:nvPr>
            <p:custDataLst>
              <p:tags r:id="rId30"/>
            </p:custDataLst>
          </p:nvPr>
        </p:nvSpPr>
        <p:spPr bwMode="auto">
          <a:xfrm>
            <a:off x="6070600"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C674468-01F9-4FB4-9E64-86A3A1C91D8F}" type="datetime'''''''''2''''''8'''''''''''">
              <a:rPr lang="en-GB" altLang="en-US" sz="800" b="1" smtClean="0">
                <a:solidFill>
                  <a:srgbClr val="000000"/>
                </a:solidFill>
              </a:rPr>
              <a:pPr marL="0" lvl="0" indent="0" algn="ctr">
                <a:spcBef>
                  <a:spcPct val="0"/>
                </a:spcBef>
                <a:spcAft>
                  <a:spcPct val="0"/>
                </a:spcAft>
                <a:buNone/>
                <a:defRPr/>
              </a:pPr>
              <a:t>28</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7" name="Textplatzhalter 2">
            <a:extLst>
              <a:ext uri="{FF2B5EF4-FFF2-40B4-BE49-F238E27FC236}">
                <a16:creationId xmlns:a16="http://schemas.microsoft.com/office/drawing/2014/main" id="{197D9211-C91A-79C4-0A29-5835ED664AFE}"/>
              </a:ext>
            </a:extLst>
          </p:cNvPr>
          <p:cNvSpPr>
            <a:spLocks noGrp="1"/>
          </p:cNvSpPr>
          <p:nvPr>
            <p:custDataLst>
              <p:tags r:id="rId31"/>
            </p:custDataLst>
          </p:nvPr>
        </p:nvSpPr>
        <p:spPr bwMode="auto">
          <a:xfrm>
            <a:off x="6213475"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D91B749-1810-4874-ADF2-B89B08A535AC}" type="datetime'''''''''''''''''''''''''''''''''''''2''''''''''''9'''''''''''">
              <a:rPr lang="en-GB" altLang="en-US" sz="800" b="1" smtClean="0">
                <a:solidFill>
                  <a:srgbClr val="000000"/>
                </a:solidFill>
              </a:rPr>
              <a:pPr marL="0" lvl="0" indent="0" algn="ctr">
                <a:spcBef>
                  <a:spcPct val="0"/>
                </a:spcBef>
                <a:spcAft>
                  <a:spcPct val="0"/>
                </a:spcAft>
                <a:buNone/>
                <a:defRPr/>
              </a:pPr>
              <a:t>29</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8" name="Textplatzhalter 2">
            <a:extLst>
              <a:ext uri="{FF2B5EF4-FFF2-40B4-BE49-F238E27FC236}">
                <a16:creationId xmlns:a16="http://schemas.microsoft.com/office/drawing/2014/main" id="{E94D6CCD-E5FB-E22E-4839-C606EF3A93C4}"/>
              </a:ext>
            </a:extLst>
          </p:cNvPr>
          <p:cNvSpPr>
            <a:spLocks noGrp="1"/>
          </p:cNvSpPr>
          <p:nvPr>
            <p:custDataLst>
              <p:tags r:id="rId32"/>
            </p:custDataLst>
          </p:nvPr>
        </p:nvSpPr>
        <p:spPr bwMode="auto">
          <a:xfrm>
            <a:off x="6357938"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A7741E1-D537-43AB-AF9B-010E08C0A5DA}" type="datetime'''3''''''''''''''''''0'''''''''">
              <a:rPr lang="en-GB" altLang="en-US" sz="800" b="1" smtClean="0">
                <a:solidFill>
                  <a:srgbClr val="000000"/>
                </a:solidFill>
              </a:rPr>
              <a:pPr marL="0" lvl="0" indent="0" algn="ctr">
                <a:spcBef>
                  <a:spcPct val="0"/>
                </a:spcBef>
                <a:spcAft>
                  <a:spcPct val="0"/>
                </a:spcAft>
                <a:buNone/>
                <a:defRPr/>
              </a:pPr>
              <a:t>30</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39" name="Textplatzhalter 2">
            <a:extLst>
              <a:ext uri="{FF2B5EF4-FFF2-40B4-BE49-F238E27FC236}">
                <a16:creationId xmlns:a16="http://schemas.microsoft.com/office/drawing/2014/main" id="{58960C70-9EE2-1DBC-322F-525356829C46}"/>
              </a:ext>
            </a:extLst>
          </p:cNvPr>
          <p:cNvSpPr>
            <a:spLocks noGrp="1"/>
          </p:cNvSpPr>
          <p:nvPr>
            <p:custDataLst>
              <p:tags r:id="rId33"/>
            </p:custDataLst>
          </p:nvPr>
        </p:nvSpPr>
        <p:spPr bwMode="auto">
          <a:xfrm>
            <a:off x="6500813"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E8425D8-9594-49F3-A7D2-B854D4AC75EB}" type="datetime'''''''''''''''''''''''''''''''''3''''''''''''1'''''''''''">
              <a:rPr lang="en-GB" altLang="en-US" sz="800" b="1" smtClean="0">
                <a:solidFill>
                  <a:srgbClr val="000000"/>
                </a:solidFill>
              </a:rPr>
              <a:pPr marL="0" lvl="0" indent="0" algn="ctr">
                <a:spcBef>
                  <a:spcPct val="0"/>
                </a:spcBef>
                <a:spcAft>
                  <a:spcPct val="0"/>
                </a:spcAft>
                <a:buNone/>
                <a:defRPr/>
              </a:pPr>
              <a:t>31</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0" name="Textplatzhalter 2">
            <a:extLst>
              <a:ext uri="{FF2B5EF4-FFF2-40B4-BE49-F238E27FC236}">
                <a16:creationId xmlns:a16="http://schemas.microsoft.com/office/drawing/2014/main" id="{AA64F5A1-847D-E54D-DE64-0A5DE979F76E}"/>
              </a:ext>
            </a:extLst>
          </p:cNvPr>
          <p:cNvSpPr>
            <a:spLocks noGrp="1"/>
          </p:cNvSpPr>
          <p:nvPr>
            <p:custDataLst>
              <p:tags r:id="rId34"/>
            </p:custDataLst>
          </p:nvPr>
        </p:nvSpPr>
        <p:spPr bwMode="auto">
          <a:xfrm>
            <a:off x="6645275"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8BE264F-B94A-4DE4-9F8D-08C573825E7E}" type="datetime'''''3''''''''''''''''''''''''''''''2'''''''''''''''''''''">
              <a:rPr lang="en-GB" altLang="en-US" sz="800" b="1" smtClean="0">
                <a:solidFill>
                  <a:srgbClr val="000000"/>
                </a:solidFill>
              </a:rPr>
              <a:pPr marL="0" lvl="0" indent="0" algn="ctr">
                <a:spcBef>
                  <a:spcPct val="0"/>
                </a:spcBef>
                <a:spcAft>
                  <a:spcPct val="0"/>
                </a:spcAft>
                <a:buNone/>
                <a:defRPr/>
              </a:pPr>
              <a:t>32</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1" name="Textplatzhalter 2">
            <a:extLst>
              <a:ext uri="{FF2B5EF4-FFF2-40B4-BE49-F238E27FC236}">
                <a16:creationId xmlns:a16="http://schemas.microsoft.com/office/drawing/2014/main" id="{A5D00357-B5E4-3DB3-F901-9B593820D0E2}"/>
              </a:ext>
            </a:extLst>
          </p:cNvPr>
          <p:cNvSpPr>
            <a:spLocks noGrp="1"/>
          </p:cNvSpPr>
          <p:nvPr>
            <p:custDataLst>
              <p:tags r:id="rId35"/>
            </p:custDataLst>
          </p:nvPr>
        </p:nvSpPr>
        <p:spPr bwMode="auto">
          <a:xfrm>
            <a:off x="6789738"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BB802B0-2680-40F1-B8DC-188ED6CDFB8A}" type="datetime'''''''''''''''''''''''''''''''''''3''''''''3'''''''''''''">
              <a:rPr lang="en-GB" altLang="en-US" sz="800" b="1" smtClean="0">
                <a:solidFill>
                  <a:srgbClr val="000000"/>
                </a:solidFill>
              </a:rPr>
              <a:pPr marL="0" lvl="0" indent="0" algn="ctr">
                <a:spcBef>
                  <a:spcPct val="0"/>
                </a:spcBef>
                <a:spcAft>
                  <a:spcPct val="0"/>
                </a:spcAft>
                <a:buNone/>
                <a:defRPr/>
              </a:pPr>
              <a:t>33</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2" name="Textplatzhalter 2">
            <a:extLst>
              <a:ext uri="{FF2B5EF4-FFF2-40B4-BE49-F238E27FC236}">
                <a16:creationId xmlns:a16="http://schemas.microsoft.com/office/drawing/2014/main" id="{7F65D740-0241-5AE6-A063-ED643A7EFF9C}"/>
              </a:ext>
            </a:extLst>
          </p:cNvPr>
          <p:cNvSpPr>
            <a:spLocks noGrp="1"/>
          </p:cNvSpPr>
          <p:nvPr>
            <p:custDataLst>
              <p:tags r:id="rId36"/>
            </p:custDataLst>
          </p:nvPr>
        </p:nvSpPr>
        <p:spPr bwMode="auto">
          <a:xfrm>
            <a:off x="6932613"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167340F-E340-44B7-B3D7-D4DBF9D5FC95}" type="datetime'''''''''''''''''''''''''34'''''''''''''''''''''''">
              <a:rPr lang="en-GB" altLang="en-US" sz="800" b="1" smtClean="0">
                <a:solidFill>
                  <a:srgbClr val="000000"/>
                </a:solidFill>
              </a:rPr>
              <a:pPr marL="0" lvl="0" indent="0" algn="ctr">
                <a:spcBef>
                  <a:spcPct val="0"/>
                </a:spcBef>
                <a:spcAft>
                  <a:spcPct val="0"/>
                </a:spcAft>
                <a:buNone/>
                <a:defRPr/>
              </a:pPr>
              <a:t>34</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3" name="Textplatzhalter 2">
            <a:extLst>
              <a:ext uri="{FF2B5EF4-FFF2-40B4-BE49-F238E27FC236}">
                <a16:creationId xmlns:a16="http://schemas.microsoft.com/office/drawing/2014/main" id="{C1DB0041-2EDF-BC99-F073-AD04E829BE1E}"/>
              </a:ext>
            </a:extLst>
          </p:cNvPr>
          <p:cNvSpPr>
            <a:spLocks noGrp="1"/>
          </p:cNvSpPr>
          <p:nvPr>
            <p:custDataLst>
              <p:tags r:id="rId37"/>
            </p:custDataLst>
          </p:nvPr>
        </p:nvSpPr>
        <p:spPr bwMode="auto">
          <a:xfrm>
            <a:off x="7077075"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796DD92-BE31-4407-AB4B-E3446278207F}" type="datetime'''''''''''''''''35'''''''''''''''''">
              <a:rPr lang="en-GB" altLang="en-US" sz="800" b="1" smtClean="0">
                <a:solidFill>
                  <a:srgbClr val="000000"/>
                </a:solidFill>
              </a:rPr>
              <a:pPr marL="0" lvl="0" indent="0" algn="ctr">
                <a:spcBef>
                  <a:spcPct val="0"/>
                </a:spcBef>
                <a:spcAft>
                  <a:spcPct val="0"/>
                </a:spcAft>
                <a:buNone/>
                <a:defRPr/>
              </a:pPr>
              <a:t>35</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4" name="Textplatzhalter 2">
            <a:extLst>
              <a:ext uri="{FF2B5EF4-FFF2-40B4-BE49-F238E27FC236}">
                <a16:creationId xmlns:a16="http://schemas.microsoft.com/office/drawing/2014/main" id="{5F67EF46-5F05-B74A-8F6C-F480BBA431A7}"/>
              </a:ext>
            </a:extLst>
          </p:cNvPr>
          <p:cNvSpPr>
            <a:spLocks noGrp="1"/>
          </p:cNvSpPr>
          <p:nvPr>
            <p:custDataLst>
              <p:tags r:id="rId38"/>
            </p:custDataLst>
          </p:nvPr>
        </p:nvSpPr>
        <p:spPr bwMode="auto">
          <a:xfrm>
            <a:off x="7221538"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83C1F5D-70FC-47B4-9C42-D1AE5A82C2B1}" type="datetime'''''''''36'''''''''''''''''''''''''''''''''''''">
              <a:rPr lang="en-GB" altLang="en-US" sz="800" b="1" smtClean="0">
                <a:solidFill>
                  <a:srgbClr val="000000"/>
                </a:solidFill>
              </a:rPr>
              <a:pPr marL="0" lvl="0" indent="0" algn="ctr">
                <a:spcBef>
                  <a:spcPct val="0"/>
                </a:spcBef>
                <a:spcAft>
                  <a:spcPct val="0"/>
                </a:spcAft>
                <a:buNone/>
                <a:defRPr/>
              </a:pPr>
              <a:t>36</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5" name="Textplatzhalter 2">
            <a:extLst>
              <a:ext uri="{FF2B5EF4-FFF2-40B4-BE49-F238E27FC236}">
                <a16:creationId xmlns:a16="http://schemas.microsoft.com/office/drawing/2014/main" id="{2174AD16-2195-4742-7E52-2E73CF3DCDBE}"/>
              </a:ext>
            </a:extLst>
          </p:cNvPr>
          <p:cNvSpPr>
            <a:spLocks noGrp="1"/>
          </p:cNvSpPr>
          <p:nvPr>
            <p:custDataLst>
              <p:tags r:id="rId39"/>
            </p:custDataLst>
          </p:nvPr>
        </p:nvSpPr>
        <p:spPr bwMode="auto">
          <a:xfrm>
            <a:off x="7364413"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FE39E46-2AC2-49EA-9858-F3102BFC7094}" type="datetime'3''''''''''''''''''''''''''''''''''''''''''''''''''7'''''''''">
              <a:rPr lang="en-GB" altLang="en-US" sz="800" b="1" smtClean="0">
                <a:solidFill>
                  <a:srgbClr val="000000"/>
                </a:solidFill>
              </a:rPr>
              <a:pPr marL="0" lvl="0" indent="0" algn="ctr">
                <a:spcBef>
                  <a:spcPct val="0"/>
                </a:spcBef>
                <a:spcAft>
                  <a:spcPct val="0"/>
                </a:spcAft>
                <a:buNone/>
                <a:defRPr/>
              </a:pPr>
              <a:t>37</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6" name="Textplatzhalter 2">
            <a:extLst>
              <a:ext uri="{FF2B5EF4-FFF2-40B4-BE49-F238E27FC236}">
                <a16:creationId xmlns:a16="http://schemas.microsoft.com/office/drawing/2014/main" id="{1A348670-4A81-F6D0-19E3-F7B2D265F775}"/>
              </a:ext>
            </a:extLst>
          </p:cNvPr>
          <p:cNvSpPr>
            <a:spLocks noGrp="1"/>
          </p:cNvSpPr>
          <p:nvPr>
            <p:custDataLst>
              <p:tags r:id="rId40"/>
            </p:custDataLst>
          </p:nvPr>
        </p:nvSpPr>
        <p:spPr bwMode="auto">
          <a:xfrm>
            <a:off x="7508875"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6E20CD6-2A81-4A1C-A871-FE951BD41688}" type="datetime'''''''''''''''''''''''3''''8'''''''''''''''''''''''''''''''">
              <a:rPr lang="en-GB" altLang="en-US" sz="800" b="1" smtClean="0">
                <a:solidFill>
                  <a:srgbClr val="000000"/>
                </a:solidFill>
              </a:rPr>
              <a:pPr marL="0" lvl="0" indent="0" algn="ctr">
                <a:spcBef>
                  <a:spcPct val="0"/>
                </a:spcBef>
                <a:spcAft>
                  <a:spcPct val="0"/>
                </a:spcAft>
                <a:buNone/>
                <a:defRPr/>
              </a:pPr>
              <a:t>38</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7" name="Textplatzhalter 2">
            <a:extLst>
              <a:ext uri="{FF2B5EF4-FFF2-40B4-BE49-F238E27FC236}">
                <a16:creationId xmlns:a16="http://schemas.microsoft.com/office/drawing/2014/main" id="{ED5A6D35-861F-B455-EE4E-893E5C980B19}"/>
              </a:ext>
            </a:extLst>
          </p:cNvPr>
          <p:cNvSpPr>
            <a:spLocks noGrp="1"/>
          </p:cNvSpPr>
          <p:nvPr>
            <p:custDataLst>
              <p:tags r:id="rId41"/>
            </p:custDataLst>
          </p:nvPr>
        </p:nvSpPr>
        <p:spPr bwMode="auto">
          <a:xfrm>
            <a:off x="7651750"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B671350-1068-40A4-B7A9-69013BE656AD}" type="datetime'''''''''''''''''''''''''''''3''''''9'''''''">
              <a:rPr lang="en-GB" altLang="en-US" sz="800" b="1" smtClean="0">
                <a:solidFill>
                  <a:srgbClr val="000000"/>
                </a:solidFill>
              </a:rPr>
              <a:pPr marL="0" lvl="0" indent="0" algn="ctr">
                <a:spcBef>
                  <a:spcPct val="0"/>
                </a:spcBef>
                <a:spcAft>
                  <a:spcPct val="0"/>
                </a:spcAft>
                <a:buNone/>
                <a:defRPr/>
              </a:pPr>
              <a:t>39</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8" name="Textplatzhalter 2">
            <a:extLst>
              <a:ext uri="{FF2B5EF4-FFF2-40B4-BE49-F238E27FC236}">
                <a16:creationId xmlns:a16="http://schemas.microsoft.com/office/drawing/2014/main" id="{A66E0497-7321-F487-4FEB-A440D6AD75CD}"/>
              </a:ext>
            </a:extLst>
          </p:cNvPr>
          <p:cNvSpPr>
            <a:spLocks noGrp="1"/>
          </p:cNvSpPr>
          <p:nvPr>
            <p:custDataLst>
              <p:tags r:id="rId42"/>
            </p:custDataLst>
          </p:nvPr>
        </p:nvSpPr>
        <p:spPr bwMode="auto">
          <a:xfrm>
            <a:off x="7796213"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B91E985-8008-40F3-BB3A-50C346DB867B}" type="datetime'''''''''4''''''''''''''''''''''''''0'''''''''''''''''">
              <a:rPr lang="en-GB" altLang="en-US" sz="800" b="1" smtClean="0">
                <a:solidFill>
                  <a:srgbClr val="000000"/>
                </a:solidFill>
              </a:rPr>
              <a:pPr marL="0" lvl="0" indent="0" algn="ctr">
                <a:spcBef>
                  <a:spcPct val="0"/>
                </a:spcBef>
                <a:spcAft>
                  <a:spcPct val="0"/>
                </a:spcAft>
                <a:buNone/>
                <a:defRPr/>
              </a:pPr>
              <a:t>40</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49" name="Textplatzhalter 2">
            <a:extLst>
              <a:ext uri="{FF2B5EF4-FFF2-40B4-BE49-F238E27FC236}">
                <a16:creationId xmlns:a16="http://schemas.microsoft.com/office/drawing/2014/main" id="{E9BEE94C-E6BF-DDD6-237D-0E192AA14808}"/>
              </a:ext>
            </a:extLst>
          </p:cNvPr>
          <p:cNvSpPr>
            <a:spLocks noGrp="1"/>
          </p:cNvSpPr>
          <p:nvPr>
            <p:custDataLst>
              <p:tags r:id="rId43"/>
            </p:custDataLst>
          </p:nvPr>
        </p:nvSpPr>
        <p:spPr bwMode="auto">
          <a:xfrm>
            <a:off x="7940675"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EE41C78-5747-4769-8C7E-69676155346A}" type="datetime'''''''''''4''''''''1'''''''''''''''''''''''">
              <a:rPr lang="en-GB" altLang="en-US" sz="800" b="1" smtClean="0">
                <a:solidFill>
                  <a:srgbClr val="000000"/>
                </a:solidFill>
              </a:rPr>
              <a:pPr marL="0" lvl="0" indent="0" algn="ctr">
                <a:spcBef>
                  <a:spcPct val="0"/>
                </a:spcBef>
                <a:spcAft>
                  <a:spcPct val="0"/>
                </a:spcAft>
                <a:buNone/>
                <a:defRPr/>
              </a:pPr>
              <a:t>41</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0" name="Textplatzhalter 2">
            <a:extLst>
              <a:ext uri="{FF2B5EF4-FFF2-40B4-BE49-F238E27FC236}">
                <a16:creationId xmlns:a16="http://schemas.microsoft.com/office/drawing/2014/main" id="{981936E5-7436-75DC-28F0-7B1C1CA14D1A}"/>
              </a:ext>
            </a:extLst>
          </p:cNvPr>
          <p:cNvSpPr>
            <a:spLocks noGrp="1"/>
          </p:cNvSpPr>
          <p:nvPr>
            <p:custDataLst>
              <p:tags r:id="rId44"/>
            </p:custDataLst>
          </p:nvPr>
        </p:nvSpPr>
        <p:spPr bwMode="auto">
          <a:xfrm>
            <a:off x="8083550"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E865B3C-1E1B-4FD1-9FC2-1EF6815E564E}" type="datetime'''''''''''''''''''''''''''''''''''''''''''4''''2'''''''''''">
              <a:rPr lang="en-GB" altLang="en-US" sz="800" b="1" smtClean="0">
                <a:solidFill>
                  <a:srgbClr val="000000"/>
                </a:solidFill>
              </a:rPr>
              <a:pPr marL="0" lvl="0" indent="0" algn="ctr">
                <a:spcBef>
                  <a:spcPct val="0"/>
                </a:spcBef>
                <a:spcAft>
                  <a:spcPct val="0"/>
                </a:spcAft>
                <a:buNone/>
                <a:defRPr/>
              </a:pPr>
              <a:t>42</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1" name="Textplatzhalter 2">
            <a:extLst>
              <a:ext uri="{FF2B5EF4-FFF2-40B4-BE49-F238E27FC236}">
                <a16:creationId xmlns:a16="http://schemas.microsoft.com/office/drawing/2014/main" id="{534BD4BD-F63A-9F95-7B21-DB3AC7B7759A}"/>
              </a:ext>
            </a:extLst>
          </p:cNvPr>
          <p:cNvSpPr>
            <a:spLocks noGrp="1"/>
          </p:cNvSpPr>
          <p:nvPr>
            <p:custDataLst>
              <p:tags r:id="rId45"/>
            </p:custDataLst>
          </p:nvPr>
        </p:nvSpPr>
        <p:spPr bwMode="auto">
          <a:xfrm>
            <a:off x="8228013"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973014A-FDF4-40FC-BF77-36679658B507}" type="datetime'''''''''''''''''''''''''''''''''''''''4''''3'''''''''''''''''">
              <a:rPr lang="en-GB" altLang="en-US" sz="800" b="1" smtClean="0">
                <a:solidFill>
                  <a:srgbClr val="000000"/>
                </a:solidFill>
              </a:rPr>
              <a:pPr marL="0" lvl="0" indent="0" algn="ctr">
                <a:spcBef>
                  <a:spcPct val="0"/>
                </a:spcBef>
                <a:spcAft>
                  <a:spcPct val="0"/>
                </a:spcAft>
                <a:buNone/>
                <a:defRPr/>
              </a:pPr>
              <a:t>43</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2" name="Textplatzhalter 2">
            <a:extLst>
              <a:ext uri="{FF2B5EF4-FFF2-40B4-BE49-F238E27FC236}">
                <a16:creationId xmlns:a16="http://schemas.microsoft.com/office/drawing/2014/main" id="{4EC47D91-AF28-30A8-EE21-61A4847F9864}"/>
              </a:ext>
            </a:extLst>
          </p:cNvPr>
          <p:cNvSpPr>
            <a:spLocks noGrp="1"/>
          </p:cNvSpPr>
          <p:nvPr>
            <p:custDataLst>
              <p:tags r:id="rId46"/>
            </p:custDataLst>
          </p:nvPr>
        </p:nvSpPr>
        <p:spPr bwMode="auto">
          <a:xfrm>
            <a:off x="8372475"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539672B-94C2-4BAC-87F1-BDC54C129BD4}" type="datetime'''4''4'''''''''''''''">
              <a:rPr lang="en-GB" altLang="en-US" sz="800" b="1" smtClean="0">
                <a:solidFill>
                  <a:srgbClr val="000000"/>
                </a:solidFill>
              </a:rPr>
              <a:pPr marL="0" lvl="0" indent="0" algn="ctr">
                <a:spcBef>
                  <a:spcPct val="0"/>
                </a:spcBef>
                <a:spcAft>
                  <a:spcPct val="0"/>
                </a:spcAft>
                <a:buNone/>
                <a:defRPr/>
              </a:pPr>
              <a:t>44</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3" name="Textplatzhalter 2">
            <a:extLst>
              <a:ext uri="{FF2B5EF4-FFF2-40B4-BE49-F238E27FC236}">
                <a16:creationId xmlns:a16="http://schemas.microsoft.com/office/drawing/2014/main" id="{0A5CA914-A23B-0F29-F519-9088B10B8A07}"/>
              </a:ext>
            </a:extLst>
          </p:cNvPr>
          <p:cNvSpPr>
            <a:spLocks noGrp="1"/>
          </p:cNvSpPr>
          <p:nvPr>
            <p:custDataLst>
              <p:tags r:id="rId47"/>
            </p:custDataLst>
          </p:nvPr>
        </p:nvSpPr>
        <p:spPr bwMode="auto">
          <a:xfrm>
            <a:off x="8515350"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BFD9A5F-F679-4507-85A1-E104E1CD8AA1}" type="datetime'''''''''''''''''''''''''''''''''''''''''''45'''''">
              <a:rPr lang="en-GB" altLang="en-US" sz="800" b="1" smtClean="0">
                <a:solidFill>
                  <a:srgbClr val="000000"/>
                </a:solidFill>
              </a:rPr>
              <a:pPr marL="0" lvl="0" indent="0" algn="ctr">
                <a:spcBef>
                  <a:spcPct val="0"/>
                </a:spcBef>
                <a:spcAft>
                  <a:spcPct val="0"/>
                </a:spcAft>
                <a:buNone/>
                <a:defRPr/>
              </a:pPr>
              <a:t>45</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4" name="Textplatzhalter 2">
            <a:extLst>
              <a:ext uri="{FF2B5EF4-FFF2-40B4-BE49-F238E27FC236}">
                <a16:creationId xmlns:a16="http://schemas.microsoft.com/office/drawing/2014/main" id="{465760F3-B410-8752-EE7F-1AD68F63CB0F}"/>
              </a:ext>
            </a:extLst>
          </p:cNvPr>
          <p:cNvSpPr>
            <a:spLocks noGrp="1"/>
          </p:cNvSpPr>
          <p:nvPr>
            <p:custDataLst>
              <p:tags r:id="rId48"/>
            </p:custDataLst>
          </p:nvPr>
        </p:nvSpPr>
        <p:spPr bwMode="auto">
          <a:xfrm>
            <a:off x="8659813"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6AFBAA7-249A-41A0-B510-2083DF9D5AC4}" type="datetime'''''''''4''''''''''6'''''''''''''''''''''">
              <a:rPr lang="en-GB" altLang="en-US" sz="800" b="1" smtClean="0">
                <a:solidFill>
                  <a:srgbClr val="000000"/>
                </a:solidFill>
              </a:rPr>
              <a:pPr marL="0" lvl="0" indent="0" algn="ctr">
                <a:spcBef>
                  <a:spcPct val="0"/>
                </a:spcBef>
                <a:spcAft>
                  <a:spcPct val="0"/>
                </a:spcAft>
                <a:buNone/>
                <a:defRPr/>
              </a:pPr>
              <a:t>46</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5" name="Textplatzhalter 2">
            <a:extLst>
              <a:ext uri="{FF2B5EF4-FFF2-40B4-BE49-F238E27FC236}">
                <a16:creationId xmlns:a16="http://schemas.microsoft.com/office/drawing/2014/main" id="{73689384-BEA1-C6B0-7B70-D5B6B37AEB70}"/>
              </a:ext>
            </a:extLst>
          </p:cNvPr>
          <p:cNvSpPr>
            <a:spLocks noGrp="1"/>
          </p:cNvSpPr>
          <p:nvPr>
            <p:custDataLst>
              <p:tags r:id="rId49"/>
            </p:custDataLst>
          </p:nvPr>
        </p:nvSpPr>
        <p:spPr bwMode="auto">
          <a:xfrm>
            <a:off x="8802688"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19BD823-1A29-4856-B4CD-D4364E94B8A4}" type="datetime'''''''''4''''''''''''''''''''''7'''''''''''''''''''''">
              <a:rPr lang="en-GB" altLang="en-US" sz="800" b="1" smtClean="0">
                <a:solidFill>
                  <a:srgbClr val="000000"/>
                </a:solidFill>
              </a:rPr>
              <a:pPr marL="0" lvl="0" indent="0" algn="ctr">
                <a:spcBef>
                  <a:spcPct val="0"/>
                </a:spcBef>
                <a:spcAft>
                  <a:spcPct val="0"/>
                </a:spcAft>
                <a:buNone/>
                <a:defRPr/>
              </a:pPr>
              <a:t>47</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6" name="Textplatzhalter 2">
            <a:extLst>
              <a:ext uri="{FF2B5EF4-FFF2-40B4-BE49-F238E27FC236}">
                <a16:creationId xmlns:a16="http://schemas.microsoft.com/office/drawing/2014/main" id="{601D9277-75BF-56B5-FE6E-1822E13F5B2E}"/>
              </a:ext>
            </a:extLst>
          </p:cNvPr>
          <p:cNvSpPr>
            <a:spLocks noGrp="1"/>
          </p:cNvSpPr>
          <p:nvPr>
            <p:custDataLst>
              <p:tags r:id="rId50"/>
            </p:custDataLst>
          </p:nvPr>
        </p:nvSpPr>
        <p:spPr bwMode="auto">
          <a:xfrm>
            <a:off x="8947150"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8FA4A5F-CC64-4433-92F9-1FCDF5408E62}" type="datetime'''''''''''''''''''''''''''''''''''''''4''''''8'''''">
              <a:rPr lang="en-GB" altLang="en-US" sz="800" b="1" smtClean="0">
                <a:solidFill>
                  <a:srgbClr val="000000"/>
                </a:solidFill>
              </a:rPr>
              <a:pPr marL="0" lvl="0" indent="0" algn="ctr">
                <a:spcBef>
                  <a:spcPct val="0"/>
                </a:spcBef>
                <a:spcAft>
                  <a:spcPct val="0"/>
                </a:spcAft>
                <a:buNone/>
                <a:defRPr/>
              </a:pPr>
              <a:t>48</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7" name="Textplatzhalter 2">
            <a:extLst>
              <a:ext uri="{FF2B5EF4-FFF2-40B4-BE49-F238E27FC236}">
                <a16:creationId xmlns:a16="http://schemas.microsoft.com/office/drawing/2014/main" id="{139A9566-ACA5-E151-1EC7-C1975BED2916}"/>
              </a:ext>
            </a:extLst>
          </p:cNvPr>
          <p:cNvSpPr>
            <a:spLocks noGrp="1"/>
          </p:cNvSpPr>
          <p:nvPr>
            <p:custDataLst>
              <p:tags r:id="rId51"/>
            </p:custDataLst>
          </p:nvPr>
        </p:nvSpPr>
        <p:spPr bwMode="auto">
          <a:xfrm>
            <a:off x="9091613"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0BE79A9-6575-4640-8A75-E93A583F12B7}" type="datetime'4''''''''''''''''''9'''''''''''">
              <a:rPr lang="en-GB" altLang="en-US" sz="800" b="1" smtClean="0">
                <a:solidFill>
                  <a:srgbClr val="000000"/>
                </a:solidFill>
              </a:rPr>
              <a:pPr marL="0" lvl="0" indent="0" algn="ctr">
                <a:spcBef>
                  <a:spcPct val="0"/>
                </a:spcBef>
                <a:spcAft>
                  <a:spcPct val="0"/>
                </a:spcAft>
                <a:buNone/>
                <a:defRPr/>
              </a:pPr>
              <a:t>49</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8" name="Textplatzhalter 2">
            <a:extLst>
              <a:ext uri="{FF2B5EF4-FFF2-40B4-BE49-F238E27FC236}">
                <a16:creationId xmlns:a16="http://schemas.microsoft.com/office/drawing/2014/main" id="{34294F75-2BF8-803F-B1FE-CCD8A3D81980}"/>
              </a:ext>
            </a:extLst>
          </p:cNvPr>
          <p:cNvSpPr>
            <a:spLocks noGrp="1"/>
          </p:cNvSpPr>
          <p:nvPr>
            <p:custDataLst>
              <p:tags r:id="rId52"/>
            </p:custDataLst>
          </p:nvPr>
        </p:nvSpPr>
        <p:spPr bwMode="auto">
          <a:xfrm>
            <a:off x="9234488"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FCCA93B-4BB4-4F16-BB46-001DD770C7B7}" type="datetime'''''''''''''5''''''''''''0'''''''''''''''''''''''''''''''''''">
              <a:rPr lang="en-GB" altLang="en-US" sz="800" b="1" smtClean="0">
                <a:solidFill>
                  <a:srgbClr val="000000"/>
                </a:solidFill>
              </a:rPr>
              <a:pPr marL="0" lvl="0" indent="0" algn="ctr">
                <a:spcBef>
                  <a:spcPct val="0"/>
                </a:spcBef>
                <a:spcAft>
                  <a:spcPct val="0"/>
                </a:spcAft>
                <a:buNone/>
                <a:defRPr/>
              </a:pPr>
              <a:t>50</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59" name="Textplatzhalter 2">
            <a:extLst>
              <a:ext uri="{FF2B5EF4-FFF2-40B4-BE49-F238E27FC236}">
                <a16:creationId xmlns:a16="http://schemas.microsoft.com/office/drawing/2014/main" id="{F1F92DED-2DDF-CD36-78F9-7D36BC64F216}"/>
              </a:ext>
            </a:extLst>
          </p:cNvPr>
          <p:cNvSpPr>
            <a:spLocks noGrp="1"/>
          </p:cNvSpPr>
          <p:nvPr>
            <p:custDataLst>
              <p:tags r:id="rId53"/>
            </p:custDataLst>
          </p:nvPr>
        </p:nvSpPr>
        <p:spPr bwMode="auto">
          <a:xfrm>
            <a:off x="9378950"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8822132-6CC8-4813-AF0F-1412CA15563F}" type="datetime'''''5''''''''''''''''''''''''''''''''''''''''''''''''''''''1'">
              <a:rPr lang="en-GB" altLang="en-US" sz="800" b="1" smtClean="0">
                <a:solidFill>
                  <a:srgbClr val="000000"/>
                </a:solidFill>
              </a:rPr>
              <a:pPr marL="0" lvl="0" indent="0" algn="ctr">
                <a:spcBef>
                  <a:spcPct val="0"/>
                </a:spcBef>
                <a:spcAft>
                  <a:spcPct val="0"/>
                </a:spcAft>
                <a:buNone/>
                <a:defRPr/>
              </a:pPr>
              <a:t>51</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60" name="Textplatzhalter 2">
            <a:extLst>
              <a:ext uri="{FF2B5EF4-FFF2-40B4-BE49-F238E27FC236}">
                <a16:creationId xmlns:a16="http://schemas.microsoft.com/office/drawing/2014/main" id="{80EDDB9E-80BE-A4E7-921E-DE9A60F6367C}"/>
              </a:ext>
            </a:extLst>
          </p:cNvPr>
          <p:cNvSpPr>
            <a:spLocks noGrp="1"/>
          </p:cNvSpPr>
          <p:nvPr>
            <p:custDataLst>
              <p:tags r:id="rId54"/>
            </p:custDataLst>
          </p:nvPr>
        </p:nvSpPr>
        <p:spPr bwMode="auto">
          <a:xfrm>
            <a:off x="9523413"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B4B2126-1C50-4CBF-BB88-7E5301131892}" type="datetime'''''''''''5''''''''''''2'''''''''''''''''''''''''''''''''">
              <a:rPr lang="en-GB" altLang="en-US" sz="800" b="1" smtClean="0">
                <a:solidFill>
                  <a:srgbClr val="000000"/>
                </a:solidFill>
              </a:rPr>
              <a:pPr marL="0" lvl="0" indent="0" algn="ctr">
                <a:spcBef>
                  <a:spcPct val="0"/>
                </a:spcBef>
                <a:spcAft>
                  <a:spcPct val="0"/>
                </a:spcAft>
                <a:buNone/>
                <a:defRPr/>
              </a:pPr>
              <a:t>52</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61" name="Textplatzhalter 2">
            <a:extLst>
              <a:ext uri="{FF2B5EF4-FFF2-40B4-BE49-F238E27FC236}">
                <a16:creationId xmlns:a16="http://schemas.microsoft.com/office/drawing/2014/main" id="{2E27B4DE-8219-903E-2AFA-FB820035B2E8}"/>
              </a:ext>
            </a:extLst>
          </p:cNvPr>
          <p:cNvSpPr>
            <a:spLocks noGrp="1"/>
          </p:cNvSpPr>
          <p:nvPr>
            <p:custDataLst>
              <p:tags r:id="rId55"/>
            </p:custDataLst>
          </p:nvPr>
        </p:nvSpPr>
        <p:spPr bwMode="auto">
          <a:xfrm>
            <a:off x="9666288"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CD8619A-6534-4B3A-BAED-9D2E2EDEE06A}" type="datetime'''''''''''''''''''''''''''''''''''''0''1'''''''''''''''''''">
              <a:rPr lang="en-GB" altLang="en-US" sz="800" b="1" smtClean="0">
                <a:solidFill>
                  <a:srgbClr val="000000"/>
                </a:solidFill>
              </a:rPr>
              <a:pPr marL="0" lvl="0" indent="0" algn="ctr">
                <a:spcBef>
                  <a:spcPct val="0"/>
                </a:spcBef>
                <a:spcAft>
                  <a:spcPct val="0"/>
                </a:spcAft>
                <a:buNone/>
                <a:defRPr/>
              </a:pPr>
              <a:t>01</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62" name="Textplatzhalter 2">
            <a:extLst>
              <a:ext uri="{FF2B5EF4-FFF2-40B4-BE49-F238E27FC236}">
                <a16:creationId xmlns:a16="http://schemas.microsoft.com/office/drawing/2014/main" id="{32E4F4EE-B898-212B-911E-3AD7E30A0BAF}"/>
              </a:ext>
            </a:extLst>
          </p:cNvPr>
          <p:cNvSpPr>
            <a:spLocks noGrp="1"/>
          </p:cNvSpPr>
          <p:nvPr>
            <p:custDataLst>
              <p:tags r:id="rId56"/>
            </p:custDataLst>
          </p:nvPr>
        </p:nvSpPr>
        <p:spPr bwMode="auto">
          <a:xfrm>
            <a:off x="9810750"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1E2A36E-58DE-41D0-A974-E283EF5ACA5F}" type="datetime'''''''''''0''''''''''''''''''''''''''''''''2'''''''''''''''''">
              <a:rPr lang="en-GB" altLang="en-US" sz="800" b="1" smtClean="0">
                <a:solidFill>
                  <a:srgbClr val="000000"/>
                </a:solidFill>
              </a:rPr>
              <a:pPr marL="0" lvl="0" indent="0" algn="ctr">
                <a:spcBef>
                  <a:spcPct val="0"/>
                </a:spcBef>
                <a:spcAft>
                  <a:spcPct val="0"/>
                </a:spcAft>
                <a:buNone/>
                <a:defRPr/>
              </a:pPr>
              <a:t>02</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63" name="Textplatzhalter 2">
            <a:extLst>
              <a:ext uri="{FF2B5EF4-FFF2-40B4-BE49-F238E27FC236}">
                <a16:creationId xmlns:a16="http://schemas.microsoft.com/office/drawing/2014/main" id="{A4579D33-9274-EE32-F85E-C7AC5B762479}"/>
              </a:ext>
            </a:extLst>
          </p:cNvPr>
          <p:cNvSpPr>
            <a:spLocks noGrp="1"/>
          </p:cNvSpPr>
          <p:nvPr>
            <p:custDataLst>
              <p:tags r:id="rId57"/>
            </p:custDataLst>
          </p:nvPr>
        </p:nvSpPr>
        <p:spPr bwMode="auto">
          <a:xfrm>
            <a:off x="9953625"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8E68E10-1C45-490A-BE01-8A229F6B2E1C}" type="datetime'''''''''''''''0''''''3'">
              <a:rPr lang="en-GB" altLang="en-US" sz="800" b="1" smtClean="0">
                <a:solidFill>
                  <a:srgbClr val="000000"/>
                </a:solidFill>
              </a:rPr>
              <a:pPr marL="0" lvl="0" indent="0" algn="ctr">
                <a:spcBef>
                  <a:spcPct val="0"/>
                </a:spcBef>
                <a:spcAft>
                  <a:spcPct val="0"/>
                </a:spcAft>
                <a:buNone/>
                <a:defRPr/>
              </a:pPr>
              <a:t>03</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64" name="Textplatzhalter 2">
            <a:extLst>
              <a:ext uri="{FF2B5EF4-FFF2-40B4-BE49-F238E27FC236}">
                <a16:creationId xmlns:a16="http://schemas.microsoft.com/office/drawing/2014/main" id="{B2E230B9-249A-A7B9-04DF-B6EE4D033968}"/>
              </a:ext>
            </a:extLst>
          </p:cNvPr>
          <p:cNvSpPr>
            <a:spLocks noGrp="1"/>
          </p:cNvSpPr>
          <p:nvPr>
            <p:custDataLst>
              <p:tags r:id="rId58"/>
            </p:custDataLst>
          </p:nvPr>
        </p:nvSpPr>
        <p:spPr bwMode="auto">
          <a:xfrm>
            <a:off x="10098088"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45CD12A-71E3-4987-8FBE-692058B08E8A}" type="datetime'''''''''''''''''''''0''''''''''''''''''''''''4'">
              <a:rPr lang="en-GB" altLang="en-US" sz="800" b="1" smtClean="0">
                <a:solidFill>
                  <a:srgbClr val="000000"/>
                </a:solidFill>
              </a:rPr>
              <a:pPr marL="0" lvl="0" indent="0" algn="ctr">
                <a:spcBef>
                  <a:spcPct val="0"/>
                </a:spcBef>
                <a:spcAft>
                  <a:spcPct val="0"/>
                </a:spcAft>
                <a:buNone/>
                <a:defRPr/>
              </a:pPr>
              <a:t>04</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65" name="Textplatzhalter 2">
            <a:extLst>
              <a:ext uri="{FF2B5EF4-FFF2-40B4-BE49-F238E27FC236}">
                <a16:creationId xmlns:a16="http://schemas.microsoft.com/office/drawing/2014/main" id="{2FBA09A4-4F80-DFD1-07A6-18BFE8A23362}"/>
              </a:ext>
            </a:extLst>
          </p:cNvPr>
          <p:cNvSpPr>
            <a:spLocks noGrp="1"/>
          </p:cNvSpPr>
          <p:nvPr>
            <p:custDataLst>
              <p:tags r:id="rId59"/>
            </p:custDataLst>
          </p:nvPr>
        </p:nvSpPr>
        <p:spPr bwMode="auto">
          <a:xfrm>
            <a:off x="10242550"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A151301-5C37-4205-AA9E-80CDB1DDBA3B}" type="datetime'''''''''''''''''''''''''''''''''''0''5'''''''''''">
              <a:rPr lang="en-GB" altLang="en-US" sz="800" b="1" smtClean="0">
                <a:solidFill>
                  <a:srgbClr val="000000"/>
                </a:solidFill>
              </a:rPr>
              <a:pPr marL="0" lvl="0" indent="0" algn="ctr">
                <a:spcBef>
                  <a:spcPct val="0"/>
                </a:spcBef>
                <a:spcAft>
                  <a:spcPct val="0"/>
                </a:spcAft>
                <a:buNone/>
                <a:defRPr/>
              </a:pPr>
              <a:t>05</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66" name="Textplatzhalter 2">
            <a:extLst>
              <a:ext uri="{FF2B5EF4-FFF2-40B4-BE49-F238E27FC236}">
                <a16:creationId xmlns:a16="http://schemas.microsoft.com/office/drawing/2014/main" id="{0F5BA2E1-F877-6AEA-E7E5-4A4DDA6B567A}"/>
              </a:ext>
            </a:extLst>
          </p:cNvPr>
          <p:cNvSpPr>
            <a:spLocks noGrp="1"/>
          </p:cNvSpPr>
          <p:nvPr>
            <p:custDataLst>
              <p:tags r:id="rId60"/>
            </p:custDataLst>
          </p:nvPr>
        </p:nvSpPr>
        <p:spPr bwMode="auto">
          <a:xfrm>
            <a:off x="10385425"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A640E90-6509-4E8C-9328-09EB30A5A556}" type="datetime'''''''''''''''''''''''''0''6'''''''''''''''''">
              <a:rPr lang="en-GB" altLang="en-US" sz="800" b="1" smtClean="0">
                <a:solidFill>
                  <a:srgbClr val="000000"/>
                </a:solidFill>
              </a:rPr>
              <a:pPr marL="0" lvl="0" indent="0" algn="ctr">
                <a:spcBef>
                  <a:spcPct val="0"/>
                </a:spcBef>
                <a:spcAft>
                  <a:spcPct val="0"/>
                </a:spcAft>
                <a:buNone/>
                <a:defRPr/>
              </a:pPr>
              <a:t>06</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6" name="Textplatzhalter 2">
            <a:extLst>
              <a:ext uri="{FF2B5EF4-FFF2-40B4-BE49-F238E27FC236}">
                <a16:creationId xmlns:a16="http://schemas.microsoft.com/office/drawing/2014/main" id="{8A94C884-EB84-776A-0BAF-0624AB532A29}"/>
              </a:ext>
            </a:extLst>
          </p:cNvPr>
          <p:cNvSpPr>
            <a:spLocks noGrp="1"/>
          </p:cNvSpPr>
          <p:nvPr>
            <p:custDataLst>
              <p:tags r:id="rId61"/>
            </p:custDataLst>
          </p:nvPr>
        </p:nvSpPr>
        <p:spPr bwMode="auto">
          <a:xfrm>
            <a:off x="10529888" y="1995488"/>
            <a:ext cx="144463"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F4590FB-1664-4071-8645-EC7B40640131}" type="datetime'''0''''''''''''''7'''''''''''''''''''''''''''''''''''">
              <a:rPr lang="en-GB" altLang="en-US" sz="800" b="1" smtClean="0">
                <a:solidFill>
                  <a:srgbClr val="000000"/>
                </a:solidFill>
              </a:rPr>
              <a:pPr marL="0" lvl="0" indent="0" algn="ctr">
                <a:spcBef>
                  <a:spcPct val="0"/>
                </a:spcBef>
                <a:spcAft>
                  <a:spcPct val="0"/>
                </a:spcAft>
                <a:buNone/>
                <a:defRPr/>
              </a:pPr>
              <a:t>07</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40" name="Textplatzhalter 2">
            <a:extLst>
              <a:ext uri="{FF2B5EF4-FFF2-40B4-BE49-F238E27FC236}">
                <a16:creationId xmlns:a16="http://schemas.microsoft.com/office/drawing/2014/main" id="{E98F4AA2-3E73-A36A-A874-158E9775A76D}"/>
              </a:ext>
            </a:extLst>
          </p:cNvPr>
          <p:cNvSpPr>
            <a:spLocks noGrp="1"/>
          </p:cNvSpPr>
          <p:nvPr>
            <p:custDataLst>
              <p:tags r:id="rId62"/>
            </p:custDataLst>
          </p:nvPr>
        </p:nvSpPr>
        <p:spPr bwMode="auto">
          <a:xfrm>
            <a:off x="10674350" y="1995488"/>
            <a:ext cx="142875"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B254154-0FF5-4F26-B1CD-759F2F7DDBC7}" type="datetime'08'''''''''''''''''''''''''''''''''''">
              <a:rPr lang="en-GB" altLang="en-US" sz="800" b="1" smtClean="0">
                <a:solidFill>
                  <a:srgbClr val="000000"/>
                </a:solidFill>
              </a:rPr>
              <a:pPr marL="0" lvl="0" indent="0" algn="ctr">
                <a:spcBef>
                  <a:spcPct val="0"/>
                </a:spcBef>
                <a:spcAft>
                  <a:spcPct val="0"/>
                </a:spcAft>
                <a:buNone/>
                <a:defRPr/>
              </a:pPr>
              <a:t>08</a:t>
            </a:fld>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p:nvSpPr>
          <p:cNvPr id="241" name="Textplatzhalter 2">
            <a:extLst>
              <a:ext uri="{FF2B5EF4-FFF2-40B4-BE49-F238E27FC236}">
                <a16:creationId xmlns:a16="http://schemas.microsoft.com/office/drawing/2014/main" id="{86B7510F-D361-5476-EA8A-7CB320AAC9B0}"/>
              </a:ext>
            </a:extLst>
          </p:cNvPr>
          <p:cNvSpPr>
            <a:spLocks noGrp="1"/>
          </p:cNvSpPr>
          <p:nvPr>
            <p:custDataLst>
              <p:tags r:id="rId63"/>
            </p:custDataLst>
          </p:nvPr>
        </p:nvSpPr>
        <p:spPr bwMode="auto">
          <a:xfrm>
            <a:off x="10817225" y="1995488"/>
            <a:ext cx="82550" cy="13811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4288" rIns="0" bIns="14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endParaRPr kumimoji="0" lang="en-US" sz="800" b="1"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cxnSp>
        <p:nvCxnSpPr>
          <p:cNvPr id="69" name="Straight Connector 68">
            <a:extLst>
              <a:ext uri="{FF2B5EF4-FFF2-40B4-BE49-F238E27FC236}">
                <a16:creationId xmlns:a16="http://schemas.microsoft.com/office/drawing/2014/main" id="{79F01183-C7E4-003E-DC59-CC84FE79C85D}"/>
              </a:ext>
            </a:extLst>
          </p:cNvPr>
          <p:cNvCxnSpPr/>
          <p:nvPr>
            <p:custDataLst>
              <p:tags r:id="rId64"/>
            </p:custDataLst>
          </p:nvPr>
        </p:nvCxnSpPr>
        <p:spPr bwMode="auto">
          <a:xfrm>
            <a:off x="1725613" y="2133600"/>
            <a:ext cx="0" cy="33194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ECF43D5-18A5-90D5-250A-C4B609519F79}"/>
              </a:ext>
            </a:extLst>
          </p:cNvPr>
          <p:cNvCxnSpPr/>
          <p:nvPr>
            <p:custDataLst>
              <p:tags r:id="rId65"/>
            </p:custDataLst>
          </p:nvPr>
        </p:nvCxnSpPr>
        <p:spPr bwMode="auto">
          <a:xfrm>
            <a:off x="11626850" y="2133600"/>
            <a:ext cx="0" cy="3319463"/>
          </a:xfrm>
          <a:prstGeom prst="line">
            <a:avLst/>
          </a:prstGeom>
          <a:ln w="9525" cap="sq"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696D78A7-102B-564E-4F31-F36852694FBA}"/>
              </a:ext>
            </a:extLst>
          </p:cNvPr>
          <p:cNvCxnSpPr/>
          <p:nvPr>
            <p:custDataLst>
              <p:tags r:id="rId66"/>
            </p:custDataLst>
          </p:nvPr>
        </p:nvCxnSpPr>
        <p:spPr bwMode="auto">
          <a:xfrm>
            <a:off x="937895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94A44C03-EF3B-7BD2-3FF3-AA909DEE72CD}"/>
              </a:ext>
            </a:extLst>
          </p:cNvPr>
          <p:cNvCxnSpPr/>
          <p:nvPr>
            <p:custDataLst>
              <p:tags r:id="rId67"/>
            </p:custDataLst>
          </p:nvPr>
        </p:nvCxnSpPr>
        <p:spPr bwMode="auto">
          <a:xfrm>
            <a:off x="7940675"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F6D29B6B-E5F9-C93C-C11F-02B8CC1334F8}"/>
              </a:ext>
            </a:extLst>
          </p:cNvPr>
          <p:cNvCxnSpPr/>
          <p:nvPr>
            <p:custDataLst>
              <p:tags r:id="rId68"/>
            </p:custDataLst>
          </p:nvPr>
        </p:nvCxnSpPr>
        <p:spPr bwMode="auto">
          <a:xfrm>
            <a:off x="405606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5BA2A22A-CC0B-31E1-981B-89EE753C6331}"/>
              </a:ext>
            </a:extLst>
          </p:cNvPr>
          <p:cNvCxnSpPr/>
          <p:nvPr>
            <p:custDataLst>
              <p:tags r:id="rId69"/>
            </p:custDataLst>
          </p:nvPr>
        </p:nvCxnSpPr>
        <p:spPr bwMode="auto">
          <a:xfrm>
            <a:off x="4200525"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02DAC459-AF78-0DE1-B336-E9C82A128F5C}"/>
              </a:ext>
            </a:extLst>
          </p:cNvPr>
          <p:cNvCxnSpPr/>
          <p:nvPr>
            <p:custDataLst>
              <p:tags r:id="rId70"/>
            </p:custDataLst>
          </p:nvPr>
        </p:nvCxnSpPr>
        <p:spPr bwMode="auto">
          <a:xfrm>
            <a:off x="434340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E55DA398-C3BA-8A09-BAD8-F13CABB0B5F0}"/>
              </a:ext>
            </a:extLst>
          </p:cNvPr>
          <p:cNvCxnSpPr/>
          <p:nvPr>
            <p:custDataLst>
              <p:tags r:id="rId71"/>
            </p:custDataLst>
          </p:nvPr>
        </p:nvCxnSpPr>
        <p:spPr bwMode="auto">
          <a:xfrm>
            <a:off x="448786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AB864E01-7B51-54FF-A21D-A6E81D543675}"/>
              </a:ext>
            </a:extLst>
          </p:cNvPr>
          <p:cNvCxnSpPr/>
          <p:nvPr>
            <p:custDataLst>
              <p:tags r:id="rId72"/>
            </p:custDataLst>
          </p:nvPr>
        </p:nvCxnSpPr>
        <p:spPr bwMode="auto">
          <a:xfrm>
            <a:off x="463073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05999A4D-C52E-9D87-665C-28FAE1F2C8BA}"/>
              </a:ext>
            </a:extLst>
          </p:cNvPr>
          <p:cNvCxnSpPr/>
          <p:nvPr>
            <p:custDataLst>
              <p:tags r:id="rId73"/>
            </p:custDataLst>
          </p:nvPr>
        </p:nvCxnSpPr>
        <p:spPr bwMode="auto">
          <a:xfrm>
            <a:off x="477520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9E0E3629-E466-733D-F34D-24CF37975663}"/>
              </a:ext>
            </a:extLst>
          </p:cNvPr>
          <p:cNvCxnSpPr/>
          <p:nvPr>
            <p:custDataLst>
              <p:tags r:id="rId74"/>
            </p:custDataLst>
          </p:nvPr>
        </p:nvCxnSpPr>
        <p:spPr bwMode="auto">
          <a:xfrm>
            <a:off x="491966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F453A6E3-4BA1-6BD8-0E98-2A00FEC0B259}"/>
              </a:ext>
            </a:extLst>
          </p:cNvPr>
          <p:cNvCxnSpPr/>
          <p:nvPr>
            <p:custDataLst>
              <p:tags r:id="rId75"/>
            </p:custDataLst>
          </p:nvPr>
        </p:nvCxnSpPr>
        <p:spPr bwMode="auto">
          <a:xfrm>
            <a:off x="506253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6646BD1E-AD93-D861-EEBC-110155973EC3}"/>
              </a:ext>
            </a:extLst>
          </p:cNvPr>
          <p:cNvCxnSpPr/>
          <p:nvPr>
            <p:custDataLst>
              <p:tags r:id="rId76"/>
            </p:custDataLst>
          </p:nvPr>
        </p:nvCxnSpPr>
        <p:spPr bwMode="auto">
          <a:xfrm>
            <a:off x="520700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BEA10834-2C0D-50A9-98C4-17AA3071042F}"/>
              </a:ext>
            </a:extLst>
          </p:cNvPr>
          <p:cNvCxnSpPr/>
          <p:nvPr>
            <p:custDataLst>
              <p:tags r:id="rId77"/>
            </p:custDataLst>
          </p:nvPr>
        </p:nvCxnSpPr>
        <p:spPr bwMode="auto">
          <a:xfrm>
            <a:off x="535146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ABC32D25-BA53-66BE-7282-A628F53F4F57}"/>
              </a:ext>
            </a:extLst>
          </p:cNvPr>
          <p:cNvCxnSpPr/>
          <p:nvPr>
            <p:custDataLst>
              <p:tags r:id="rId78"/>
            </p:custDataLst>
          </p:nvPr>
        </p:nvCxnSpPr>
        <p:spPr bwMode="auto">
          <a:xfrm>
            <a:off x="549433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B3B25393-5103-0412-B385-F1B18E74BE6C}"/>
              </a:ext>
            </a:extLst>
          </p:cNvPr>
          <p:cNvCxnSpPr/>
          <p:nvPr>
            <p:custDataLst>
              <p:tags r:id="rId79"/>
            </p:custDataLst>
          </p:nvPr>
        </p:nvCxnSpPr>
        <p:spPr bwMode="auto">
          <a:xfrm>
            <a:off x="563880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FDAD6120-9E3D-DAA7-B78A-CEB0429914F5}"/>
              </a:ext>
            </a:extLst>
          </p:cNvPr>
          <p:cNvCxnSpPr/>
          <p:nvPr>
            <p:custDataLst>
              <p:tags r:id="rId80"/>
            </p:custDataLst>
          </p:nvPr>
        </p:nvCxnSpPr>
        <p:spPr bwMode="auto">
          <a:xfrm>
            <a:off x="5781675"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DDFBA43D-FE0B-B1FF-2168-FF0488B26388}"/>
              </a:ext>
            </a:extLst>
          </p:cNvPr>
          <p:cNvCxnSpPr/>
          <p:nvPr>
            <p:custDataLst>
              <p:tags r:id="rId81"/>
            </p:custDataLst>
          </p:nvPr>
        </p:nvCxnSpPr>
        <p:spPr bwMode="auto">
          <a:xfrm>
            <a:off x="592613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1880178E-FA91-5BB8-D664-90C84C893DE3}"/>
              </a:ext>
            </a:extLst>
          </p:cNvPr>
          <p:cNvCxnSpPr/>
          <p:nvPr>
            <p:custDataLst>
              <p:tags r:id="rId82"/>
            </p:custDataLst>
          </p:nvPr>
        </p:nvCxnSpPr>
        <p:spPr bwMode="auto">
          <a:xfrm>
            <a:off x="607060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06A74EA9-0B09-2C1F-8CF6-E921D09E80F0}"/>
              </a:ext>
            </a:extLst>
          </p:cNvPr>
          <p:cNvCxnSpPr/>
          <p:nvPr>
            <p:custDataLst>
              <p:tags r:id="rId83"/>
            </p:custDataLst>
          </p:nvPr>
        </p:nvCxnSpPr>
        <p:spPr bwMode="auto">
          <a:xfrm>
            <a:off x="6213475"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4B5C9966-EA86-8171-8150-31D37AD504BB}"/>
              </a:ext>
            </a:extLst>
          </p:cNvPr>
          <p:cNvCxnSpPr/>
          <p:nvPr>
            <p:custDataLst>
              <p:tags r:id="rId84"/>
            </p:custDataLst>
          </p:nvPr>
        </p:nvCxnSpPr>
        <p:spPr bwMode="auto">
          <a:xfrm>
            <a:off x="635793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70BF7317-C847-655E-00D0-9328726A1E90}"/>
              </a:ext>
            </a:extLst>
          </p:cNvPr>
          <p:cNvCxnSpPr/>
          <p:nvPr>
            <p:custDataLst>
              <p:tags r:id="rId85"/>
            </p:custDataLst>
          </p:nvPr>
        </p:nvCxnSpPr>
        <p:spPr bwMode="auto">
          <a:xfrm>
            <a:off x="650081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9FCE26A6-1C49-892D-0419-19687A7DA7FE}"/>
              </a:ext>
            </a:extLst>
          </p:cNvPr>
          <p:cNvCxnSpPr/>
          <p:nvPr>
            <p:custDataLst>
              <p:tags r:id="rId86"/>
            </p:custDataLst>
          </p:nvPr>
        </p:nvCxnSpPr>
        <p:spPr bwMode="auto">
          <a:xfrm>
            <a:off x="6645275"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5D510BA9-E8F8-DE03-E8C6-3E83BBEC9345}"/>
              </a:ext>
            </a:extLst>
          </p:cNvPr>
          <p:cNvCxnSpPr/>
          <p:nvPr>
            <p:custDataLst>
              <p:tags r:id="rId87"/>
            </p:custDataLst>
          </p:nvPr>
        </p:nvCxnSpPr>
        <p:spPr bwMode="auto">
          <a:xfrm>
            <a:off x="678973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10E94096-5749-7264-FD91-D2A13CC7D9C3}"/>
              </a:ext>
            </a:extLst>
          </p:cNvPr>
          <p:cNvCxnSpPr/>
          <p:nvPr>
            <p:custDataLst>
              <p:tags r:id="rId88"/>
            </p:custDataLst>
          </p:nvPr>
        </p:nvCxnSpPr>
        <p:spPr bwMode="auto">
          <a:xfrm>
            <a:off x="693261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BE3C4C67-D911-AA0C-FA9E-E3BB3CC1A9AB}"/>
              </a:ext>
            </a:extLst>
          </p:cNvPr>
          <p:cNvCxnSpPr/>
          <p:nvPr>
            <p:custDataLst>
              <p:tags r:id="rId89"/>
            </p:custDataLst>
          </p:nvPr>
        </p:nvCxnSpPr>
        <p:spPr bwMode="auto">
          <a:xfrm>
            <a:off x="7077075"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B6E626A0-BBA0-BF18-8FE6-CC98194C86CB}"/>
              </a:ext>
            </a:extLst>
          </p:cNvPr>
          <p:cNvCxnSpPr/>
          <p:nvPr>
            <p:custDataLst>
              <p:tags r:id="rId90"/>
            </p:custDataLst>
          </p:nvPr>
        </p:nvCxnSpPr>
        <p:spPr bwMode="auto">
          <a:xfrm>
            <a:off x="722153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3E454069-5554-6854-75F9-D94BBC259626}"/>
              </a:ext>
            </a:extLst>
          </p:cNvPr>
          <p:cNvCxnSpPr/>
          <p:nvPr>
            <p:custDataLst>
              <p:tags r:id="rId91"/>
            </p:custDataLst>
          </p:nvPr>
        </p:nvCxnSpPr>
        <p:spPr bwMode="auto">
          <a:xfrm>
            <a:off x="736441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99D23056-B080-88C4-34E9-258E028DA0AA}"/>
              </a:ext>
            </a:extLst>
          </p:cNvPr>
          <p:cNvCxnSpPr/>
          <p:nvPr>
            <p:custDataLst>
              <p:tags r:id="rId92"/>
            </p:custDataLst>
          </p:nvPr>
        </p:nvCxnSpPr>
        <p:spPr bwMode="auto">
          <a:xfrm>
            <a:off x="7508875"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7407D70C-FA4C-0985-EBC6-42EABA1AC51C}"/>
              </a:ext>
            </a:extLst>
          </p:cNvPr>
          <p:cNvCxnSpPr/>
          <p:nvPr>
            <p:custDataLst>
              <p:tags r:id="rId93"/>
            </p:custDataLst>
          </p:nvPr>
        </p:nvCxnSpPr>
        <p:spPr bwMode="auto">
          <a:xfrm>
            <a:off x="765175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0C94E254-AEAE-8CFE-5D8D-C3FB92807DE2}"/>
              </a:ext>
            </a:extLst>
          </p:cNvPr>
          <p:cNvCxnSpPr/>
          <p:nvPr>
            <p:custDataLst>
              <p:tags r:id="rId94"/>
            </p:custDataLst>
          </p:nvPr>
        </p:nvCxnSpPr>
        <p:spPr bwMode="auto">
          <a:xfrm>
            <a:off x="779621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EAA96DDF-684E-BC48-B8B6-0B2BA523B4D9}"/>
              </a:ext>
            </a:extLst>
          </p:cNvPr>
          <p:cNvCxnSpPr/>
          <p:nvPr>
            <p:custDataLst>
              <p:tags r:id="rId95"/>
            </p:custDataLst>
          </p:nvPr>
        </p:nvCxnSpPr>
        <p:spPr bwMode="auto">
          <a:xfrm>
            <a:off x="808355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4C32E6B1-1370-A9DC-B1EF-B7BE23A2D038}"/>
              </a:ext>
            </a:extLst>
          </p:cNvPr>
          <p:cNvCxnSpPr/>
          <p:nvPr>
            <p:custDataLst>
              <p:tags r:id="rId96"/>
            </p:custDataLst>
          </p:nvPr>
        </p:nvCxnSpPr>
        <p:spPr bwMode="auto">
          <a:xfrm>
            <a:off x="822801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1DD31E87-AFE0-442C-BCF1-DFFAFEDB6E83}"/>
              </a:ext>
            </a:extLst>
          </p:cNvPr>
          <p:cNvCxnSpPr/>
          <p:nvPr>
            <p:custDataLst>
              <p:tags r:id="rId97"/>
            </p:custDataLst>
          </p:nvPr>
        </p:nvCxnSpPr>
        <p:spPr bwMode="auto">
          <a:xfrm>
            <a:off x="8372475"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B3451781-EB09-2656-7D06-EAEB1617E370}"/>
              </a:ext>
            </a:extLst>
          </p:cNvPr>
          <p:cNvCxnSpPr/>
          <p:nvPr>
            <p:custDataLst>
              <p:tags r:id="rId98"/>
            </p:custDataLst>
          </p:nvPr>
        </p:nvCxnSpPr>
        <p:spPr bwMode="auto">
          <a:xfrm>
            <a:off x="851535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A6F1B0B-08AE-4BA7-BFFA-3BE96AD9F917}"/>
              </a:ext>
            </a:extLst>
          </p:cNvPr>
          <p:cNvCxnSpPr/>
          <p:nvPr>
            <p:custDataLst>
              <p:tags r:id="rId99"/>
            </p:custDataLst>
          </p:nvPr>
        </p:nvCxnSpPr>
        <p:spPr bwMode="auto">
          <a:xfrm>
            <a:off x="865981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DBFDB064-DB73-F28E-0EC2-CEDE30DD5663}"/>
              </a:ext>
            </a:extLst>
          </p:cNvPr>
          <p:cNvCxnSpPr/>
          <p:nvPr>
            <p:custDataLst>
              <p:tags r:id="rId100"/>
            </p:custDataLst>
          </p:nvPr>
        </p:nvCxnSpPr>
        <p:spPr bwMode="auto">
          <a:xfrm>
            <a:off x="880268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408E5576-4F43-C9B1-93E8-2FAE3E150C74}"/>
              </a:ext>
            </a:extLst>
          </p:cNvPr>
          <p:cNvCxnSpPr/>
          <p:nvPr>
            <p:custDataLst>
              <p:tags r:id="rId101"/>
            </p:custDataLst>
          </p:nvPr>
        </p:nvCxnSpPr>
        <p:spPr bwMode="auto">
          <a:xfrm>
            <a:off x="894715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3CFBDC8A-1169-9FE1-EC5F-321330A14AB7}"/>
              </a:ext>
            </a:extLst>
          </p:cNvPr>
          <p:cNvCxnSpPr/>
          <p:nvPr>
            <p:custDataLst>
              <p:tags r:id="rId102"/>
            </p:custDataLst>
          </p:nvPr>
        </p:nvCxnSpPr>
        <p:spPr bwMode="auto">
          <a:xfrm>
            <a:off x="909161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83D07327-F57F-2CDF-5671-A0C096EBD4AE}"/>
              </a:ext>
            </a:extLst>
          </p:cNvPr>
          <p:cNvCxnSpPr/>
          <p:nvPr>
            <p:custDataLst>
              <p:tags r:id="rId103"/>
            </p:custDataLst>
          </p:nvPr>
        </p:nvCxnSpPr>
        <p:spPr bwMode="auto">
          <a:xfrm>
            <a:off x="923448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5A79ED4B-640E-7B22-18DA-5872C8A66FDA}"/>
              </a:ext>
            </a:extLst>
          </p:cNvPr>
          <p:cNvCxnSpPr/>
          <p:nvPr>
            <p:custDataLst>
              <p:tags r:id="rId104"/>
            </p:custDataLst>
          </p:nvPr>
        </p:nvCxnSpPr>
        <p:spPr bwMode="auto">
          <a:xfrm>
            <a:off x="9523413"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8576568C-20AB-632B-78D1-EDB86AC8569F}"/>
              </a:ext>
            </a:extLst>
          </p:cNvPr>
          <p:cNvCxnSpPr/>
          <p:nvPr>
            <p:custDataLst>
              <p:tags r:id="rId105"/>
            </p:custDataLst>
          </p:nvPr>
        </p:nvCxnSpPr>
        <p:spPr bwMode="auto">
          <a:xfrm>
            <a:off x="966628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6F6AC891-D6B5-CBD0-CBB9-FDBC6FE6DD82}"/>
              </a:ext>
            </a:extLst>
          </p:cNvPr>
          <p:cNvCxnSpPr/>
          <p:nvPr>
            <p:custDataLst>
              <p:tags r:id="rId106"/>
            </p:custDataLst>
          </p:nvPr>
        </p:nvCxnSpPr>
        <p:spPr bwMode="auto">
          <a:xfrm>
            <a:off x="981075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A2C1A27F-075F-ECB5-2E05-D90DF4553ED6}"/>
              </a:ext>
            </a:extLst>
          </p:cNvPr>
          <p:cNvCxnSpPr/>
          <p:nvPr>
            <p:custDataLst>
              <p:tags r:id="rId107"/>
            </p:custDataLst>
          </p:nvPr>
        </p:nvCxnSpPr>
        <p:spPr bwMode="auto">
          <a:xfrm>
            <a:off x="9953625"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AB553E3-5E3B-3604-2E7A-46C69ECB0EDC}"/>
              </a:ext>
            </a:extLst>
          </p:cNvPr>
          <p:cNvCxnSpPr/>
          <p:nvPr>
            <p:custDataLst>
              <p:tags r:id="rId108"/>
            </p:custDataLst>
          </p:nvPr>
        </p:nvCxnSpPr>
        <p:spPr bwMode="auto">
          <a:xfrm>
            <a:off x="1009808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D2FB6F13-B20C-DA56-18B6-EB255D36B5C4}"/>
              </a:ext>
            </a:extLst>
          </p:cNvPr>
          <p:cNvCxnSpPr/>
          <p:nvPr>
            <p:custDataLst>
              <p:tags r:id="rId109"/>
            </p:custDataLst>
          </p:nvPr>
        </p:nvCxnSpPr>
        <p:spPr bwMode="auto">
          <a:xfrm>
            <a:off x="1024255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73E3A55E-475B-817C-212B-95A09E44BCFB}"/>
              </a:ext>
            </a:extLst>
          </p:cNvPr>
          <p:cNvCxnSpPr/>
          <p:nvPr>
            <p:custDataLst>
              <p:tags r:id="rId110"/>
            </p:custDataLst>
          </p:nvPr>
        </p:nvCxnSpPr>
        <p:spPr bwMode="auto">
          <a:xfrm>
            <a:off x="10529888"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C73F5AA8-00D5-6D04-9292-5FE163EBDBB2}"/>
              </a:ext>
            </a:extLst>
          </p:cNvPr>
          <p:cNvCxnSpPr/>
          <p:nvPr>
            <p:custDataLst>
              <p:tags r:id="rId111"/>
            </p:custDataLst>
          </p:nvPr>
        </p:nvCxnSpPr>
        <p:spPr bwMode="auto">
          <a:xfrm>
            <a:off x="10674350" y="2133600"/>
            <a:ext cx="0" cy="33194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7E31B1BB-E2D8-E404-5589-ED447F02E97D}"/>
              </a:ext>
            </a:extLst>
          </p:cNvPr>
          <p:cNvCxnSpPr/>
          <p:nvPr>
            <p:custDataLst>
              <p:tags r:id="rId112"/>
            </p:custDataLst>
          </p:nvPr>
        </p:nvCxnSpPr>
        <p:spPr bwMode="auto">
          <a:xfrm>
            <a:off x="4014788" y="2133600"/>
            <a:ext cx="0" cy="33194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88A5327-C5FC-CF28-9BC9-31B313CC1750}"/>
              </a:ext>
            </a:extLst>
          </p:cNvPr>
          <p:cNvCxnSpPr/>
          <p:nvPr>
            <p:custDataLst>
              <p:tags r:id="rId113"/>
            </p:custDataLst>
          </p:nvPr>
        </p:nvCxnSpPr>
        <p:spPr bwMode="auto">
          <a:xfrm>
            <a:off x="10899775" y="2133600"/>
            <a:ext cx="0" cy="33194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34D6545-431E-F7A0-6753-0893EC73FD25}"/>
              </a:ext>
            </a:extLst>
          </p:cNvPr>
          <p:cNvCxnSpPr/>
          <p:nvPr>
            <p:custDataLst>
              <p:tags r:id="rId114"/>
            </p:custDataLst>
          </p:nvPr>
        </p:nvCxnSpPr>
        <p:spPr bwMode="auto">
          <a:xfrm>
            <a:off x="1725613" y="4710113"/>
            <a:ext cx="9901238" cy="0"/>
          </a:xfrm>
          <a:prstGeom prst="line">
            <a:avLst/>
          </a:prstGeom>
          <a:ln w="3175" cap="sq"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0BA44186-09B3-7464-2FAE-3CA4441FD790}"/>
              </a:ext>
            </a:extLst>
          </p:cNvPr>
          <p:cNvCxnSpPr/>
          <p:nvPr>
            <p:custDataLst>
              <p:tags r:id="rId115"/>
            </p:custDataLst>
          </p:nvPr>
        </p:nvCxnSpPr>
        <p:spPr bwMode="auto">
          <a:xfrm>
            <a:off x="1725613" y="4046538"/>
            <a:ext cx="9901238" cy="0"/>
          </a:xfrm>
          <a:prstGeom prst="line">
            <a:avLst/>
          </a:prstGeom>
          <a:ln w="3175" cap="sq"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545B1D29-80B3-E9E2-CAEF-5983C9AB6036}"/>
              </a:ext>
            </a:extLst>
          </p:cNvPr>
          <p:cNvCxnSpPr/>
          <p:nvPr>
            <p:custDataLst>
              <p:tags r:id="rId116"/>
            </p:custDataLst>
          </p:nvPr>
        </p:nvCxnSpPr>
        <p:spPr bwMode="auto">
          <a:xfrm>
            <a:off x="1725613" y="5081588"/>
            <a:ext cx="9901237"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E3DF2317-F4E7-61B0-E660-6F094259F985}"/>
              </a:ext>
            </a:extLst>
          </p:cNvPr>
          <p:cNvCxnSpPr/>
          <p:nvPr>
            <p:custDataLst>
              <p:tags r:id="rId117"/>
            </p:custDataLst>
          </p:nvPr>
        </p:nvCxnSpPr>
        <p:spPr bwMode="auto">
          <a:xfrm>
            <a:off x="1725613" y="2874963"/>
            <a:ext cx="99012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6E3763D0-74BA-656B-5E49-7A3036BD8C98}"/>
              </a:ext>
            </a:extLst>
          </p:cNvPr>
          <p:cNvCxnSpPr/>
          <p:nvPr>
            <p:custDataLst>
              <p:tags r:id="rId118"/>
            </p:custDataLst>
          </p:nvPr>
        </p:nvCxnSpPr>
        <p:spPr bwMode="auto">
          <a:xfrm>
            <a:off x="1725613" y="3382963"/>
            <a:ext cx="9901238" cy="0"/>
          </a:xfrm>
          <a:prstGeom prst="line">
            <a:avLst/>
          </a:prstGeom>
          <a:ln w="3175" cap="sq"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92856AB9-B231-55FF-F630-A98C5B841611}"/>
              </a:ext>
            </a:extLst>
          </p:cNvPr>
          <p:cNvCxnSpPr/>
          <p:nvPr>
            <p:custDataLst>
              <p:tags r:id="rId119"/>
            </p:custDataLst>
          </p:nvPr>
        </p:nvCxnSpPr>
        <p:spPr bwMode="auto">
          <a:xfrm>
            <a:off x="1725613" y="2505075"/>
            <a:ext cx="9901237"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55388708-845D-3789-7D9D-E1A489D321E4}"/>
              </a:ext>
            </a:extLst>
          </p:cNvPr>
          <p:cNvCxnSpPr/>
          <p:nvPr>
            <p:custDataLst>
              <p:tags r:id="rId120"/>
            </p:custDataLst>
          </p:nvPr>
        </p:nvCxnSpPr>
        <p:spPr bwMode="auto">
          <a:xfrm>
            <a:off x="1725613" y="5453063"/>
            <a:ext cx="99012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140853A-DFBB-A481-04AF-29302089EE20}"/>
              </a:ext>
            </a:extLst>
          </p:cNvPr>
          <p:cNvCxnSpPr>
            <a:cxnSpLocks/>
          </p:cNvCxnSpPr>
          <p:nvPr>
            <p:custDataLst>
              <p:tags r:id="rId121"/>
            </p:custDataLst>
          </p:nvPr>
        </p:nvCxnSpPr>
        <p:spPr bwMode="gray">
          <a:xfrm>
            <a:off x="9420225" y="2133600"/>
            <a:ext cx="0" cy="3482975"/>
          </a:xfrm>
          <a:prstGeom prst="line">
            <a:avLst/>
          </a:prstGeom>
          <a:ln w="19050" cap="flat" cmpd="sng" algn="ctr">
            <a:solidFill>
              <a:srgbClr val="007770"/>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389D7311-1DDF-BCC9-692E-4C84A78FE766}"/>
              </a:ext>
            </a:extLst>
          </p:cNvPr>
          <p:cNvCxnSpPr/>
          <p:nvPr>
            <p:custDataLst>
              <p:tags r:id="rId122"/>
            </p:custDataLst>
          </p:nvPr>
        </p:nvCxnSpPr>
        <p:spPr bwMode="auto">
          <a:xfrm>
            <a:off x="10817225" y="2133600"/>
            <a:ext cx="0" cy="34829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1BAD0CC1-7AE4-83B4-1C45-CB95B06C4062}"/>
              </a:ext>
            </a:extLst>
          </p:cNvPr>
          <p:cNvCxnSpPr/>
          <p:nvPr>
            <p:custDataLst>
              <p:tags r:id="rId123"/>
            </p:custDataLst>
          </p:nvPr>
        </p:nvCxnSpPr>
        <p:spPr bwMode="auto">
          <a:xfrm>
            <a:off x="7775575" y="2133600"/>
            <a:ext cx="0" cy="34829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69397F95-5799-D447-20A8-C8400C7B4238}"/>
              </a:ext>
            </a:extLst>
          </p:cNvPr>
          <p:cNvCxnSpPr/>
          <p:nvPr>
            <p:custDataLst>
              <p:tags r:id="rId124"/>
            </p:custDataLst>
          </p:nvPr>
        </p:nvCxnSpPr>
        <p:spPr bwMode="auto">
          <a:xfrm>
            <a:off x="10385425" y="2133600"/>
            <a:ext cx="0" cy="34829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3420362D-7395-1142-7A6B-F32578DCB1DC}"/>
              </a:ext>
            </a:extLst>
          </p:cNvPr>
          <p:cNvCxnSpPr/>
          <p:nvPr>
            <p:custDataLst>
              <p:tags r:id="rId125"/>
            </p:custDataLst>
          </p:nvPr>
        </p:nvCxnSpPr>
        <p:spPr bwMode="auto">
          <a:xfrm>
            <a:off x="4692650" y="2133600"/>
            <a:ext cx="0" cy="34829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7BCA3C77-9FBB-CAFB-6685-9B9C04E66FE1}"/>
              </a:ext>
            </a:extLst>
          </p:cNvPr>
          <p:cNvCxnSpPr/>
          <p:nvPr>
            <p:custDataLst>
              <p:tags r:id="rId126"/>
            </p:custDataLst>
          </p:nvPr>
        </p:nvCxnSpPr>
        <p:spPr bwMode="auto">
          <a:xfrm>
            <a:off x="5391150" y="2133600"/>
            <a:ext cx="0" cy="34829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81418F27-2F5D-1252-DEC3-99F40AEA0F93}"/>
              </a:ext>
            </a:extLst>
          </p:cNvPr>
          <p:cNvCxnSpPr/>
          <p:nvPr>
            <p:custDataLst>
              <p:tags r:id="rId127"/>
            </p:custDataLst>
          </p:nvPr>
        </p:nvCxnSpPr>
        <p:spPr bwMode="auto">
          <a:xfrm>
            <a:off x="1725613" y="2133600"/>
            <a:ext cx="990123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29DA7E26-579B-6413-63AD-0202A32865CD}"/>
              </a:ext>
            </a:extLst>
          </p:cNvPr>
          <p:cNvSpPr/>
          <p:nvPr>
            <p:custDataLst>
              <p:tags r:id="rId128"/>
            </p:custDataLst>
          </p:nvPr>
        </p:nvSpPr>
        <p:spPr bwMode="auto">
          <a:xfrm>
            <a:off x="9707563" y="2270125"/>
            <a:ext cx="473075" cy="79375"/>
          </a:xfrm>
          <a:prstGeom prst="rect">
            <a:avLst/>
          </a:prstGeom>
          <a:solidFill>
            <a:srgbClr val="FFD5E2"/>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2" name="Arrow: Right 131">
            <a:extLst>
              <a:ext uri="{FF2B5EF4-FFF2-40B4-BE49-F238E27FC236}">
                <a16:creationId xmlns:a16="http://schemas.microsoft.com/office/drawing/2014/main" id="{B9DAC29B-F272-D3C7-1AA5-D008469AAB49}"/>
              </a:ext>
            </a:extLst>
          </p:cNvPr>
          <p:cNvSpPr/>
          <p:nvPr>
            <p:custDataLst>
              <p:tags r:id="rId129"/>
            </p:custDataLst>
          </p:nvPr>
        </p:nvSpPr>
        <p:spPr bwMode="auto">
          <a:xfrm>
            <a:off x="10529887" y="2601913"/>
            <a:ext cx="471488" cy="158750"/>
          </a:xfrm>
          <a:prstGeom prst="rightArrow">
            <a:avLst>
              <a:gd name="adj1" fmla="val 50000"/>
              <a:gd name="adj2" fmla="val 40660"/>
            </a:avLst>
          </a:prstGeom>
          <a:solidFill>
            <a:srgbClr val="FFD5E2"/>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Rectangle 132">
            <a:extLst>
              <a:ext uri="{FF2B5EF4-FFF2-40B4-BE49-F238E27FC236}">
                <a16:creationId xmlns:a16="http://schemas.microsoft.com/office/drawing/2014/main" id="{C175C043-FF19-02B4-6AF1-35F72847ED54}"/>
              </a:ext>
            </a:extLst>
          </p:cNvPr>
          <p:cNvSpPr/>
          <p:nvPr>
            <p:custDataLst>
              <p:tags r:id="rId130"/>
            </p:custDataLst>
          </p:nvPr>
        </p:nvSpPr>
        <p:spPr bwMode="auto">
          <a:xfrm>
            <a:off x="9810750" y="4846638"/>
            <a:ext cx="574675" cy="79375"/>
          </a:xfrm>
          <a:prstGeom prst="rect">
            <a:avLst/>
          </a:prstGeom>
          <a:solidFill>
            <a:schemeClr val="accent4"/>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Rectangle 134">
            <a:extLst>
              <a:ext uri="{FF2B5EF4-FFF2-40B4-BE49-F238E27FC236}">
                <a16:creationId xmlns:a16="http://schemas.microsoft.com/office/drawing/2014/main" id="{4142561D-B72D-1091-CEF7-2CEBCB0839FB}"/>
              </a:ext>
            </a:extLst>
          </p:cNvPr>
          <p:cNvSpPr/>
          <p:nvPr>
            <p:custDataLst>
              <p:tags r:id="rId131"/>
            </p:custDataLst>
          </p:nvPr>
        </p:nvSpPr>
        <p:spPr bwMode="auto">
          <a:xfrm>
            <a:off x="7221538" y="4183063"/>
            <a:ext cx="574675" cy="79375"/>
          </a:xfrm>
          <a:prstGeom prst="rect">
            <a:avLst/>
          </a:prstGeom>
          <a:solidFill>
            <a:schemeClr val="accent4"/>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Rectangle 133">
            <a:extLst>
              <a:ext uri="{FF2B5EF4-FFF2-40B4-BE49-F238E27FC236}">
                <a16:creationId xmlns:a16="http://schemas.microsoft.com/office/drawing/2014/main" id="{86210A8B-1F54-E426-24F9-5FCAB58E8952}"/>
              </a:ext>
            </a:extLst>
          </p:cNvPr>
          <p:cNvSpPr/>
          <p:nvPr>
            <p:custDataLst>
              <p:tags r:id="rId132"/>
            </p:custDataLst>
          </p:nvPr>
        </p:nvSpPr>
        <p:spPr bwMode="auto">
          <a:xfrm>
            <a:off x="7242175" y="2270125"/>
            <a:ext cx="2136775" cy="79375"/>
          </a:xfrm>
          <a:prstGeom prst="rect">
            <a:avLst/>
          </a:prstGeom>
          <a:solidFill>
            <a:srgbClr val="FFD5E2"/>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1" name="Rectangle 130">
            <a:extLst>
              <a:ext uri="{FF2B5EF4-FFF2-40B4-BE49-F238E27FC236}">
                <a16:creationId xmlns:a16="http://schemas.microsoft.com/office/drawing/2014/main" id="{72C86229-0E5F-A425-3180-2E85CA11C247}"/>
              </a:ext>
            </a:extLst>
          </p:cNvPr>
          <p:cNvSpPr/>
          <p:nvPr>
            <p:custDataLst>
              <p:tags r:id="rId133"/>
            </p:custDataLst>
          </p:nvPr>
        </p:nvSpPr>
        <p:spPr bwMode="auto">
          <a:xfrm>
            <a:off x="7200900" y="3813175"/>
            <a:ext cx="615950" cy="79375"/>
          </a:xfrm>
          <a:prstGeom prst="rect">
            <a:avLst/>
          </a:prstGeom>
          <a:solidFill>
            <a:schemeClr val="accent4"/>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9" name="Rectangle 138">
            <a:extLst>
              <a:ext uri="{FF2B5EF4-FFF2-40B4-BE49-F238E27FC236}">
                <a16:creationId xmlns:a16="http://schemas.microsoft.com/office/drawing/2014/main" id="{3BA9B1C5-B998-75B0-25E9-879971A60F24}"/>
              </a:ext>
            </a:extLst>
          </p:cNvPr>
          <p:cNvSpPr/>
          <p:nvPr>
            <p:custDataLst>
              <p:tags r:id="rId134"/>
            </p:custDataLst>
          </p:nvPr>
        </p:nvSpPr>
        <p:spPr bwMode="auto">
          <a:xfrm>
            <a:off x="8083550" y="4846638"/>
            <a:ext cx="1624013" cy="79375"/>
          </a:xfrm>
          <a:prstGeom prst="rect">
            <a:avLst/>
          </a:prstGeom>
          <a:solidFill>
            <a:schemeClr val="accent4"/>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Rectangle 135">
            <a:extLst>
              <a:ext uri="{FF2B5EF4-FFF2-40B4-BE49-F238E27FC236}">
                <a16:creationId xmlns:a16="http://schemas.microsoft.com/office/drawing/2014/main" id="{7E39812D-6864-6917-2461-BF357490F61A}"/>
              </a:ext>
            </a:extLst>
          </p:cNvPr>
          <p:cNvSpPr/>
          <p:nvPr>
            <p:custDataLst>
              <p:tags r:id="rId135"/>
            </p:custDataLst>
          </p:nvPr>
        </p:nvSpPr>
        <p:spPr bwMode="auto">
          <a:xfrm>
            <a:off x="7221538" y="4476750"/>
            <a:ext cx="574675" cy="79375"/>
          </a:xfrm>
          <a:prstGeom prst="rect">
            <a:avLst/>
          </a:prstGeom>
          <a:solidFill>
            <a:schemeClr val="accent4"/>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 name="Rectangle 136">
            <a:extLst>
              <a:ext uri="{FF2B5EF4-FFF2-40B4-BE49-F238E27FC236}">
                <a16:creationId xmlns:a16="http://schemas.microsoft.com/office/drawing/2014/main" id="{D2B3499E-5C7E-0625-74E4-8332E8D875C0}"/>
              </a:ext>
            </a:extLst>
          </p:cNvPr>
          <p:cNvSpPr/>
          <p:nvPr>
            <p:custDataLst>
              <p:tags r:id="rId136"/>
            </p:custDataLst>
          </p:nvPr>
        </p:nvSpPr>
        <p:spPr bwMode="auto">
          <a:xfrm>
            <a:off x="4281487" y="3011488"/>
            <a:ext cx="2076450" cy="79375"/>
          </a:xfrm>
          <a:prstGeom prst="rect">
            <a:avLst/>
          </a:prstGeom>
          <a:solidFill>
            <a:srgbClr val="FFD5E2"/>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Arrow: Right 137">
            <a:extLst>
              <a:ext uri="{FF2B5EF4-FFF2-40B4-BE49-F238E27FC236}">
                <a16:creationId xmlns:a16="http://schemas.microsoft.com/office/drawing/2014/main" id="{D8B33271-7859-6513-D4E4-4A51E7DAEA02}"/>
              </a:ext>
            </a:extLst>
          </p:cNvPr>
          <p:cNvSpPr/>
          <p:nvPr>
            <p:custDataLst>
              <p:tags r:id="rId137"/>
            </p:custDataLst>
          </p:nvPr>
        </p:nvSpPr>
        <p:spPr bwMode="auto">
          <a:xfrm>
            <a:off x="10529887" y="5178425"/>
            <a:ext cx="471488" cy="158750"/>
          </a:xfrm>
          <a:prstGeom prst="rightArrow">
            <a:avLst>
              <a:gd name="adj1" fmla="val 50000"/>
              <a:gd name="adj2" fmla="val 40660"/>
            </a:avLst>
          </a:prstGeom>
          <a:solidFill>
            <a:schemeClr val="accent4"/>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Rectangle 139">
            <a:extLst>
              <a:ext uri="{FF2B5EF4-FFF2-40B4-BE49-F238E27FC236}">
                <a16:creationId xmlns:a16="http://schemas.microsoft.com/office/drawing/2014/main" id="{4F1F6DFC-459E-7DA4-8445-ACFC1D4C8AFB}"/>
              </a:ext>
            </a:extLst>
          </p:cNvPr>
          <p:cNvSpPr/>
          <p:nvPr>
            <p:custDataLst>
              <p:tags r:id="rId138"/>
            </p:custDataLst>
          </p:nvPr>
        </p:nvSpPr>
        <p:spPr bwMode="auto">
          <a:xfrm>
            <a:off x="5062538" y="4183063"/>
            <a:ext cx="288925" cy="79375"/>
          </a:xfrm>
          <a:prstGeom prst="rect">
            <a:avLst/>
          </a:prstGeom>
          <a:solidFill>
            <a:schemeClr val="accent4"/>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Rectangle 144">
            <a:extLst>
              <a:ext uri="{FF2B5EF4-FFF2-40B4-BE49-F238E27FC236}">
                <a16:creationId xmlns:a16="http://schemas.microsoft.com/office/drawing/2014/main" id="{DEE057F4-3A1F-D159-299D-8398B072F3B8}"/>
              </a:ext>
            </a:extLst>
          </p:cNvPr>
          <p:cNvSpPr/>
          <p:nvPr>
            <p:custDataLst>
              <p:tags r:id="rId139"/>
            </p:custDataLst>
          </p:nvPr>
        </p:nvSpPr>
        <p:spPr bwMode="auto">
          <a:xfrm>
            <a:off x="4260850" y="2270125"/>
            <a:ext cx="1090613" cy="79375"/>
          </a:xfrm>
          <a:prstGeom prst="rect">
            <a:avLst/>
          </a:prstGeom>
          <a:solidFill>
            <a:srgbClr val="FFD5E2"/>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Rectangle 140">
            <a:extLst>
              <a:ext uri="{FF2B5EF4-FFF2-40B4-BE49-F238E27FC236}">
                <a16:creationId xmlns:a16="http://schemas.microsoft.com/office/drawing/2014/main" id="{1432AAA0-37F5-7CBB-CF47-92B0AAE1C038}"/>
              </a:ext>
            </a:extLst>
          </p:cNvPr>
          <p:cNvSpPr/>
          <p:nvPr>
            <p:custDataLst>
              <p:tags r:id="rId140"/>
            </p:custDataLst>
          </p:nvPr>
        </p:nvSpPr>
        <p:spPr bwMode="auto">
          <a:xfrm>
            <a:off x="5145088" y="3813175"/>
            <a:ext cx="206375" cy="79375"/>
          </a:xfrm>
          <a:prstGeom prst="rect">
            <a:avLst/>
          </a:prstGeom>
          <a:solidFill>
            <a:schemeClr val="accent4"/>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3" name="Rectangle 142">
            <a:extLst>
              <a:ext uri="{FF2B5EF4-FFF2-40B4-BE49-F238E27FC236}">
                <a16:creationId xmlns:a16="http://schemas.microsoft.com/office/drawing/2014/main" id="{B3D00F8A-615F-BA28-8995-473235AEB0C6}"/>
              </a:ext>
            </a:extLst>
          </p:cNvPr>
          <p:cNvSpPr/>
          <p:nvPr>
            <p:custDataLst>
              <p:tags r:id="rId141"/>
            </p:custDataLst>
          </p:nvPr>
        </p:nvSpPr>
        <p:spPr bwMode="auto">
          <a:xfrm>
            <a:off x="4302125" y="3519488"/>
            <a:ext cx="1049338" cy="79375"/>
          </a:xfrm>
          <a:prstGeom prst="rect">
            <a:avLst/>
          </a:prstGeom>
          <a:solidFill>
            <a:srgbClr val="FFD5E2"/>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2" name="Rectangle 141">
            <a:extLst>
              <a:ext uri="{FF2B5EF4-FFF2-40B4-BE49-F238E27FC236}">
                <a16:creationId xmlns:a16="http://schemas.microsoft.com/office/drawing/2014/main" id="{2F8E1CC8-956A-0BAF-FAE0-00A2DE5ACF91}"/>
              </a:ext>
            </a:extLst>
          </p:cNvPr>
          <p:cNvSpPr/>
          <p:nvPr>
            <p:custDataLst>
              <p:tags r:id="rId142"/>
            </p:custDataLst>
          </p:nvPr>
        </p:nvSpPr>
        <p:spPr bwMode="auto">
          <a:xfrm>
            <a:off x="10242550" y="5218113"/>
            <a:ext cx="142875" cy="79375"/>
          </a:xfrm>
          <a:prstGeom prst="rect">
            <a:avLst/>
          </a:prstGeom>
          <a:solidFill>
            <a:srgbClr val="FFD5E2"/>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4" name="Rectangle 143">
            <a:extLst>
              <a:ext uri="{FF2B5EF4-FFF2-40B4-BE49-F238E27FC236}">
                <a16:creationId xmlns:a16="http://schemas.microsoft.com/office/drawing/2014/main" id="{E10E3E32-C709-42DF-2945-A78A20B9E03B}"/>
              </a:ext>
            </a:extLst>
          </p:cNvPr>
          <p:cNvSpPr/>
          <p:nvPr>
            <p:custDataLst>
              <p:tags r:id="rId143"/>
            </p:custDataLst>
          </p:nvPr>
        </p:nvSpPr>
        <p:spPr bwMode="auto">
          <a:xfrm>
            <a:off x="4302125" y="2641600"/>
            <a:ext cx="307975" cy="79375"/>
          </a:xfrm>
          <a:prstGeom prst="rect">
            <a:avLst/>
          </a:prstGeom>
          <a:solidFill>
            <a:srgbClr val="FFD5E2"/>
          </a:solid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6" name="Rectangle 145">
            <a:extLst>
              <a:ext uri="{FF2B5EF4-FFF2-40B4-BE49-F238E27FC236}">
                <a16:creationId xmlns:a16="http://schemas.microsoft.com/office/drawing/2014/main" id="{B48E0E11-4A98-8749-4BEF-1E94F340E96B}"/>
              </a:ext>
            </a:extLst>
          </p:cNvPr>
          <p:cNvSpPr/>
          <p:nvPr>
            <p:custDataLst>
              <p:tags r:id="rId144"/>
            </p:custDataLst>
          </p:nvPr>
        </p:nvSpPr>
        <p:spPr bwMode="auto">
          <a:xfrm>
            <a:off x="10221912" y="2279651"/>
            <a:ext cx="369888" cy="60325"/>
          </a:xfrm>
          <a:prstGeom prst="rect">
            <a:avLst/>
          </a:prstGeom>
          <a:solidFill>
            <a:schemeClr val="bg1"/>
          </a:solidFill>
          <a:ln w="19050" cap="flat" cmpd="sng" algn="ctr">
            <a:solidFill>
              <a:srgbClr val="FFD5E2"/>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8" name="Rectangle 147">
            <a:extLst>
              <a:ext uri="{FF2B5EF4-FFF2-40B4-BE49-F238E27FC236}">
                <a16:creationId xmlns:a16="http://schemas.microsoft.com/office/drawing/2014/main" id="{5203DDC0-4353-190F-F56F-D0FB67A9D244}"/>
              </a:ext>
            </a:extLst>
          </p:cNvPr>
          <p:cNvSpPr/>
          <p:nvPr>
            <p:custDataLst>
              <p:tags r:id="rId145"/>
            </p:custDataLst>
          </p:nvPr>
        </p:nvSpPr>
        <p:spPr bwMode="auto">
          <a:xfrm>
            <a:off x="9810750" y="3822701"/>
            <a:ext cx="574675" cy="60325"/>
          </a:xfrm>
          <a:prstGeom prst="rect">
            <a:avLst/>
          </a:prstGeom>
          <a:solidFill>
            <a:schemeClr val="bg1"/>
          </a:solidFill>
          <a:ln w="19050" cap="flat" cmpd="sng" algn="ctr">
            <a:solidFill>
              <a:schemeClr val="accent4"/>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7" name="Rectangle 146">
            <a:extLst>
              <a:ext uri="{FF2B5EF4-FFF2-40B4-BE49-F238E27FC236}">
                <a16:creationId xmlns:a16="http://schemas.microsoft.com/office/drawing/2014/main" id="{349FAA3B-6A26-6474-E40D-6B8FF5D5635C}"/>
              </a:ext>
            </a:extLst>
          </p:cNvPr>
          <p:cNvSpPr/>
          <p:nvPr>
            <p:custDataLst>
              <p:tags r:id="rId146"/>
            </p:custDataLst>
          </p:nvPr>
        </p:nvSpPr>
        <p:spPr bwMode="auto">
          <a:xfrm>
            <a:off x="7816850" y="4192589"/>
            <a:ext cx="2568575" cy="60325"/>
          </a:xfrm>
          <a:prstGeom prst="rect">
            <a:avLst/>
          </a:prstGeom>
          <a:solidFill>
            <a:schemeClr val="bg1"/>
          </a:solidFill>
          <a:ln w="19050" cap="flat" cmpd="sng" algn="ctr">
            <a:solidFill>
              <a:schemeClr val="accent4"/>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Rectangle 149">
            <a:extLst>
              <a:ext uri="{FF2B5EF4-FFF2-40B4-BE49-F238E27FC236}">
                <a16:creationId xmlns:a16="http://schemas.microsoft.com/office/drawing/2014/main" id="{1B9DCB6A-75E3-0963-CF44-398D59CAF688}"/>
              </a:ext>
            </a:extLst>
          </p:cNvPr>
          <p:cNvSpPr/>
          <p:nvPr>
            <p:custDataLst>
              <p:tags r:id="rId147"/>
            </p:custDataLst>
          </p:nvPr>
        </p:nvSpPr>
        <p:spPr bwMode="auto">
          <a:xfrm>
            <a:off x="7796213" y="4486276"/>
            <a:ext cx="1911350" cy="60325"/>
          </a:xfrm>
          <a:prstGeom prst="rect">
            <a:avLst/>
          </a:prstGeom>
          <a:solidFill>
            <a:schemeClr val="bg1"/>
          </a:solidFill>
          <a:ln w="19050" cap="flat" cmpd="sng" algn="ctr">
            <a:solidFill>
              <a:schemeClr val="accent4"/>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9" name="Rectangle 148">
            <a:extLst>
              <a:ext uri="{FF2B5EF4-FFF2-40B4-BE49-F238E27FC236}">
                <a16:creationId xmlns:a16="http://schemas.microsoft.com/office/drawing/2014/main" id="{6CF3F443-833A-5B83-0B28-AA2F9088BF91}"/>
              </a:ext>
            </a:extLst>
          </p:cNvPr>
          <p:cNvSpPr/>
          <p:nvPr>
            <p:custDataLst>
              <p:tags r:id="rId148"/>
            </p:custDataLst>
          </p:nvPr>
        </p:nvSpPr>
        <p:spPr bwMode="auto">
          <a:xfrm>
            <a:off x="6399213" y="3021014"/>
            <a:ext cx="1766888" cy="60325"/>
          </a:xfrm>
          <a:prstGeom prst="rect">
            <a:avLst/>
          </a:prstGeom>
          <a:solidFill>
            <a:srgbClr val="FFFFFF"/>
          </a:solidFill>
          <a:ln w="19050" cap="flat" cmpd="sng" algn="ctr">
            <a:solidFill>
              <a:srgbClr val="FFE6EB"/>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3" name="Rectangle 152">
            <a:extLst>
              <a:ext uri="{FF2B5EF4-FFF2-40B4-BE49-F238E27FC236}">
                <a16:creationId xmlns:a16="http://schemas.microsoft.com/office/drawing/2014/main" id="{334E83CB-F292-2E46-4D64-40EF3C474D8E}"/>
              </a:ext>
            </a:extLst>
          </p:cNvPr>
          <p:cNvSpPr/>
          <p:nvPr>
            <p:custDataLst>
              <p:tags r:id="rId149"/>
            </p:custDataLst>
          </p:nvPr>
        </p:nvSpPr>
        <p:spPr bwMode="auto">
          <a:xfrm>
            <a:off x="6521449" y="3822701"/>
            <a:ext cx="679450" cy="60325"/>
          </a:xfrm>
          <a:prstGeom prst="rect">
            <a:avLst/>
          </a:prstGeom>
          <a:solidFill>
            <a:schemeClr val="bg1"/>
          </a:solidFill>
          <a:ln w="19050" cap="flat" cmpd="sng" algn="ctr">
            <a:solidFill>
              <a:schemeClr val="accent4"/>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4" name="Rectangle 153">
            <a:extLst>
              <a:ext uri="{FF2B5EF4-FFF2-40B4-BE49-F238E27FC236}">
                <a16:creationId xmlns:a16="http://schemas.microsoft.com/office/drawing/2014/main" id="{A1003381-0FBB-C41C-B23B-3EB48C716C8B}"/>
              </a:ext>
            </a:extLst>
          </p:cNvPr>
          <p:cNvSpPr/>
          <p:nvPr>
            <p:custDataLst>
              <p:tags r:id="rId150"/>
            </p:custDataLst>
          </p:nvPr>
        </p:nvSpPr>
        <p:spPr bwMode="auto">
          <a:xfrm>
            <a:off x="5351463" y="2279651"/>
            <a:ext cx="1870075" cy="60325"/>
          </a:xfrm>
          <a:prstGeom prst="rect">
            <a:avLst/>
          </a:prstGeom>
          <a:solidFill>
            <a:schemeClr val="bg1"/>
          </a:solidFill>
          <a:ln w="19050" cap="flat" cmpd="sng" algn="ctr">
            <a:solidFill>
              <a:srgbClr val="FFD5E2"/>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1" name="Rectangle 150">
            <a:extLst>
              <a:ext uri="{FF2B5EF4-FFF2-40B4-BE49-F238E27FC236}">
                <a16:creationId xmlns:a16="http://schemas.microsoft.com/office/drawing/2014/main" id="{7FF65685-34EA-F790-AB19-CC0F2139C124}"/>
              </a:ext>
            </a:extLst>
          </p:cNvPr>
          <p:cNvSpPr/>
          <p:nvPr>
            <p:custDataLst>
              <p:tags r:id="rId151"/>
            </p:custDataLst>
          </p:nvPr>
        </p:nvSpPr>
        <p:spPr bwMode="auto">
          <a:xfrm>
            <a:off x="9934575" y="2651126"/>
            <a:ext cx="595313" cy="60325"/>
          </a:xfrm>
          <a:prstGeom prst="rect">
            <a:avLst/>
          </a:prstGeom>
          <a:solidFill>
            <a:schemeClr val="bg1"/>
          </a:solidFill>
          <a:ln w="19050" cap="flat" cmpd="sng" algn="ctr">
            <a:solidFill>
              <a:srgbClr val="FFD5E2"/>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2" name="Rectangle 151">
            <a:extLst>
              <a:ext uri="{FF2B5EF4-FFF2-40B4-BE49-F238E27FC236}">
                <a16:creationId xmlns:a16="http://schemas.microsoft.com/office/drawing/2014/main" id="{A0CC70A7-4092-EC00-2DA5-47B7FBF6B289}"/>
              </a:ext>
            </a:extLst>
          </p:cNvPr>
          <p:cNvSpPr/>
          <p:nvPr>
            <p:custDataLst>
              <p:tags r:id="rId152"/>
            </p:custDataLst>
          </p:nvPr>
        </p:nvSpPr>
        <p:spPr bwMode="auto">
          <a:xfrm>
            <a:off x="5370513" y="3529014"/>
            <a:ext cx="987425" cy="60325"/>
          </a:xfrm>
          <a:prstGeom prst="rect">
            <a:avLst/>
          </a:prstGeom>
          <a:solidFill>
            <a:schemeClr val="bg1"/>
          </a:solidFill>
          <a:ln w="19050" cap="flat" cmpd="sng" algn="ctr">
            <a:solidFill>
              <a:srgbClr val="FFD5E2"/>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6" name="Arrow: Left 155">
            <a:extLst>
              <a:ext uri="{FF2B5EF4-FFF2-40B4-BE49-F238E27FC236}">
                <a16:creationId xmlns:a16="http://schemas.microsoft.com/office/drawing/2014/main" id="{28F7A878-3788-1264-7064-9FFF1C114C32}"/>
              </a:ext>
            </a:extLst>
          </p:cNvPr>
          <p:cNvSpPr/>
          <p:nvPr>
            <p:custDataLst>
              <p:tags r:id="rId153"/>
            </p:custDataLst>
          </p:nvPr>
        </p:nvSpPr>
        <p:spPr bwMode="auto">
          <a:xfrm>
            <a:off x="3913187" y="2990850"/>
            <a:ext cx="368300" cy="120650"/>
          </a:xfrm>
          <a:prstGeom prst="leftArrow">
            <a:avLst>
              <a:gd name="adj1" fmla="val 50000"/>
              <a:gd name="adj2" fmla="val 40660"/>
            </a:avLst>
          </a:prstGeom>
          <a:solidFill>
            <a:schemeClr val="bg1"/>
          </a:solidFill>
          <a:ln w="19050" cap="flat" cmpd="sng" algn="ctr">
            <a:solidFill>
              <a:srgbClr val="FFD5E2"/>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7" name="Rectangle 156">
            <a:extLst>
              <a:ext uri="{FF2B5EF4-FFF2-40B4-BE49-F238E27FC236}">
                <a16:creationId xmlns:a16="http://schemas.microsoft.com/office/drawing/2014/main" id="{9DC6D15E-91DD-D1A5-282D-CC6E6A946EE1}"/>
              </a:ext>
            </a:extLst>
          </p:cNvPr>
          <p:cNvSpPr/>
          <p:nvPr>
            <p:custDataLst>
              <p:tags r:id="rId154"/>
            </p:custDataLst>
          </p:nvPr>
        </p:nvSpPr>
        <p:spPr bwMode="auto">
          <a:xfrm>
            <a:off x="6500813" y="4486276"/>
            <a:ext cx="720725" cy="60325"/>
          </a:xfrm>
          <a:prstGeom prst="rect">
            <a:avLst/>
          </a:prstGeom>
          <a:solidFill>
            <a:schemeClr val="bg1"/>
          </a:solidFill>
          <a:ln w="19050" cap="flat" cmpd="sng" algn="ctr">
            <a:solidFill>
              <a:schemeClr val="accent4"/>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5" name="Rectangle 154">
            <a:extLst>
              <a:ext uri="{FF2B5EF4-FFF2-40B4-BE49-F238E27FC236}">
                <a16:creationId xmlns:a16="http://schemas.microsoft.com/office/drawing/2014/main" id="{389CC9FA-C0C6-FC77-7E95-7B1C40D339FA}"/>
              </a:ext>
            </a:extLst>
          </p:cNvPr>
          <p:cNvSpPr/>
          <p:nvPr>
            <p:custDataLst>
              <p:tags r:id="rId155"/>
            </p:custDataLst>
          </p:nvPr>
        </p:nvSpPr>
        <p:spPr bwMode="auto">
          <a:xfrm>
            <a:off x="6357938" y="4856164"/>
            <a:ext cx="1725613" cy="60325"/>
          </a:xfrm>
          <a:prstGeom prst="rect">
            <a:avLst/>
          </a:prstGeom>
          <a:solidFill>
            <a:schemeClr val="bg1"/>
          </a:solidFill>
          <a:ln w="19050" cap="flat" cmpd="sng" algn="ctr">
            <a:solidFill>
              <a:schemeClr val="accent4"/>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0" name="Right Bracket 159">
            <a:extLst>
              <a:ext uri="{FF2B5EF4-FFF2-40B4-BE49-F238E27FC236}">
                <a16:creationId xmlns:a16="http://schemas.microsoft.com/office/drawing/2014/main" id="{4F43C02C-3CC4-2D7A-2DA3-879F09B90914}"/>
              </a:ext>
            </a:extLst>
          </p:cNvPr>
          <p:cNvSpPr/>
          <p:nvPr>
            <p:custDataLst>
              <p:tags r:id="rId156"/>
            </p:custDataLst>
          </p:nvPr>
        </p:nvSpPr>
        <p:spPr bwMode="auto">
          <a:xfrm rot="5400000">
            <a:off x="6704013" y="5265738"/>
            <a:ext cx="107950" cy="801688"/>
          </a:xfrm>
          <a:prstGeom prst="rightBracket">
            <a:avLst>
              <a:gd name="adj" fmla="val 0"/>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9" name="Isosceles Triangle 158">
            <a:extLst>
              <a:ext uri="{FF2B5EF4-FFF2-40B4-BE49-F238E27FC236}">
                <a16:creationId xmlns:a16="http://schemas.microsoft.com/office/drawing/2014/main" id="{90DE5764-8CAE-0956-E899-053828BC1968}"/>
              </a:ext>
            </a:extLst>
          </p:cNvPr>
          <p:cNvSpPr/>
          <p:nvPr>
            <p:custDataLst>
              <p:tags r:id="rId157"/>
            </p:custDataLst>
          </p:nvPr>
        </p:nvSpPr>
        <p:spPr bwMode="auto">
          <a:xfrm rot="10800000">
            <a:off x="6651625" y="5719763"/>
            <a:ext cx="212725" cy="107950"/>
          </a:xfrm>
          <a:prstGeom prst="triangle">
            <a:avLst>
              <a:gd name="adj" fmla="val 5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8" name="Right Bracket 157">
            <a:extLst>
              <a:ext uri="{FF2B5EF4-FFF2-40B4-BE49-F238E27FC236}">
                <a16:creationId xmlns:a16="http://schemas.microsoft.com/office/drawing/2014/main" id="{E3638EAB-B523-9500-7004-E195BD60CBAC}"/>
              </a:ext>
            </a:extLst>
          </p:cNvPr>
          <p:cNvSpPr/>
          <p:nvPr>
            <p:custDataLst>
              <p:tags r:id="rId158"/>
            </p:custDataLst>
          </p:nvPr>
        </p:nvSpPr>
        <p:spPr bwMode="auto">
          <a:xfrm rot="5400000">
            <a:off x="7485063" y="3162300"/>
            <a:ext cx="107950" cy="5692775"/>
          </a:xfrm>
          <a:prstGeom prst="rightBracket">
            <a:avLst>
              <a:gd name="adj" fmla="val 0"/>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1" name="Isosceles Triangle 160">
            <a:extLst>
              <a:ext uri="{FF2B5EF4-FFF2-40B4-BE49-F238E27FC236}">
                <a16:creationId xmlns:a16="http://schemas.microsoft.com/office/drawing/2014/main" id="{0A26A93A-EEF4-CEB2-F154-1403EFD54A15}"/>
              </a:ext>
            </a:extLst>
          </p:cNvPr>
          <p:cNvSpPr/>
          <p:nvPr>
            <p:custDataLst>
              <p:tags r:id="rId159"/>
            </p:custDataLst>
          </p:nvPr>
        </p:nvSpPr>
        <p:spPr bwMode="auto">
          <a:xfrm rot="10800000">
            <a:off x="7432675" y="6062663"/>
            <a:ext cx="212725" cy="107950"/>
          </a:xfrm>
          <a:prstGeom prst="triangle">
            <a:avLst>
              <a:gd name="adj" fmla="val 5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2" name="Isosceles Triangle 161">
            <a:extLst>
              <a:ext uri="{FF2B5EF4-FFF2-40B4-BE49-F238E27FC236}">
                <a16:creationId xmlns:a16="http://schemas.microsoft.com/office/drawing/2014/main" id="{0AC69BE5-024B-4434-2281-69F0DC001A8C}"/>
              </a:ext>
            </a:extLst>
          </p:cNvPr>
          <p:cNvSpPr/>
          <p:nvPr>
            <p:custDataLst>
              <p:tags r:id="rId160"/>
            </p:custDataLst>
          </p:nvPr>
        </p:nvSpPr>
        <p:spPr bwMode="gray">
          <a:xfrm>
            <a:off x="10766425" y="5565775"/>
            <a:ext cx="101600" cy="1016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3" name="Isosceles Triangle 162">
            <a:extLst>
              <a:ext uri="{FF2B5EF4-FFF2-40B4-BE49-F238E27FC236}">
                <a16:creationId xmlns:a16="http://schemas.microsoft.com/office/drawing/2014/main" id="{F83672C5-2BFB-6ABE-77E4-1916FD132BC5}"/>
              </a:ext>
            </a:extLst>
          </p:cNvPr>
          <p:cNvSpPr/>
          <p:nvPr>
            <p:custDataLst>
              <p:tags r:id="rId161"/>
            </p:custDataLst>
          </p:nvPr>
        </p:nvSpPr>
        <p:spPr bwMode="gray">
          <a:xfrm>
            <a:off x="10334625" y="5565775"/>
            <a:ext cx="101600" cy="1016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65" name="Straight Connector 164">
            <a:extLst>
              <a:ext uri="{FF2B5EF4-FFF2-40B4-BE49-F238E27FC236}">
                <a16:creationId xmlns:a16="http://schemas.microsoft.com/office/drawing/2014/main" id="{264CCCDB-B4EB-AAB3-1594-5B37B4D590F3}"/>
              </a:ext>
            </a:extLst>
          </p:cNvPr>
          <p:cNvCxnSpPr/>
          <p:nvPr>
            <p:custDataLst>
              <p:tags r:id="rId162"/>
            </p:custDataLst>
          </p:nvPr>
        </p:nvCxnSpPr>
        <p:spPr bwMode="gray">
          <a:xfrm>
            <a:off x="9369425" y="5616575"/>
            <a:ext cx="101600" cy="0"/>
          </a:xfrm>
          <a:prstGeom prst="line">
            <a:avLst/>
          </a:prstGeom>
          <a:ln w="19050" cap="flat" cmpd="sng" algn="ctr">
            <a:solidFill>
              <a:srgbClr val="00777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4" name="Isosceles Triangle 163">
            <a:extLst>
              <a:ext uri="{FF2B5EF4-FFF2-40B4-BE49-F238E27FC236}">
                <a16:creationId xmlns:a16="http://schemas.microsoft.com/office/drawing/2014/main" id="{A32F3C98-7CE1-3AD5-0520-90C2CB397BB3}"/>
              </a:ext>
            </a:extLst>
          </p:cNvPr>
          <p:cNvSpPr/>
          <p:nvPr>
            <p:custDataLst>
              <p:tags r:id="rId163"/>
            </p:custDataLst>
          </p:nvPr>
        </p:nvSpPr>
        <p:spPr bwMode="gray">
          <a:xfrm>
            <a:off x="7724775" y="5565775"/>
            <a:ext cx="101600" cy="1016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6" name="Diamond 165">
            <a:extLst>
              <a:ext uri="{FF2B5EF4-FFF2-40B4-BE49-F238E27FC236}">
                <a16:creationId xmlns:a16="http://schemas.microsoft.com/office/drawing/2014/main" id="{E4E19E28-1B3D-6EEF-A381-CE4A2820EB41}"/>
              </a:ext>
            </a:extLst>
          </p:cNvPr>
          <p:cNvSpPr/>
          <p:nvPr>
            <p:custDataLst>
              <p:tags r:id="rId164"/>
            </p:custDataLst>
          </p:nvPr>
        </p:nvSpPr>
        <p:spPr bwMode="gray">
          <a:xfrm>
            <a:off x="8115300" y="3000375"/>
            <a:ext cx="101600" cy="1016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7" name="Isosceles Triangle 166">
            <a:extLst>
              <a:ext uri="{FF2B5EF4-FFF2-40B4-BE49-F238E27FC236}">
                <a16:creationId xmlns:a16="http://schemas.microsoft.com/office/drawing/2014/main" id="{7E0D6B80-0463-733D-921F-12B6CF781963}"/>
              </a:ext>
            </a:extLst>
          </p:cNvPr>
          <p:cNvSpPr/>
          <p:nvPr>
            <p:custDataLst>
              <p:tags r:id="rId165"/>
            </p:custDataLst>
          </p:nvPr>
        </p:nvSpPr>
        <p:spPr bwMode="gray">
          <a:xfrm>
            <a:off x="5340350" y="5565775"/>
            <a:ext cx="101600" cy="1016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9" name="Diamond 168">
            <a:extLst>
              <a:ext uri="{FF2B5EF4-FFF2-40B4-BE49-F238E27FC236}">
                <a16:creationId xmlns:a16="http://schemas.microsoft.com/office/drawing/2014/main" id="{9544B3CF-0D35-A3FE-3D40-1A03C5D80A14}"/>
              </a:ext>
            </a:extLst>
          </p:cNvPr>
          <p:cNvSpPr/>
          <p:nvPr>
            <p:custDataLst>
              <p:tags r:id="rId166"/>
            </p:custDataLst>
          </p:nvPr>
        </p:nvSpPr>
        <p:spPr bwMode="gray">
          <a:xfrm>
            <a:off x="6307138" y="3000375"/>
            <a:ext cx="101600" cy="1016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8" name="Isosceles Triangle 167">
            <a:extLst>
              <a:ext uri="{FF2B5EF4-FFF2-40B4-BE49-F238E27FC236}">
                <a16:creationId xmlns:a16="http://schemas.microsoft.com/office/drawing/2014/main" id="{09FB6A66-D9BA-AA29-6388-B9403AC31515}"/>
              </a:ext>
            </a:extLst>
          </p:cNvPr>
          <p:cNvSpPr/>
          <p:nvPr>
            <p:custDataLst>
              <p:tags r:id="rId167"/>
            </p:custDataLst>
          </p:nvPr>
        </p:nvSpPr>
        <p:spPr bwMode="gray">
          <a:xfrm>
            <a:off x="4641850" y="5565775"/>
            <a:ext cx="101600" cy="1016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0" name="Diamond 169">
            <a:extLst>
              <a:ext uri="{FF2B5EF4-FFF2-40B4-BE49-F238E27FC236}">
                <a16:creationId xmlns:a16="http://schemas.microsoft.com/office/drawing/2014/main" id="{6B7D2B51-8B48-9FE9-574E-E805AFD6FEBD}"/>
              </a:ext>
            </a:extLst>
          </p:cNvPr>
          <p:cNvSpPr/>
          <p:nvPr>
            <p:custDataLst>
              <p:tags r:id="rId168"/>
            </p:custDataLst>
          </p:nvPr>
        </p:nvSpPr>
        <p:spPr bwMode="gray">
          <a:xfrm>
            <a:off x="6061075" y="3000375"/>
            <a:ext cx="101600" cy="1016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1" name="Diamond 170">
            <a:extLst>
              <a:ext uri="{FF2B5EF4-FFF2-40B4-BE49-F238E27FC236}">
                <a16:creationId xmlns:a16="http://schemas.microsoft.com/office/drawing/2014/main" id="{E474789B-60E3-3662-3F53-604A562BCAD6}"/>
              </a:ext>
            </a:extLst>
          </p:cNvPr>
          <p:cNvSpPr/>
          <p:nvPr>
            <p:custDataLst>
              <p:tags r:id="rId169"/>
            </p:custDataLst>
          </p:nvPr>
        </p:nvSpPr>
        <p:spPr bwMode="gray">
          <a:xfrm>
            <a:off x="9863138" y="3802063"/>
            <a:ext cx="101600" cy="101600"/>
          </a:xfrm>
          <a:prstGeom prst="diamond">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Diamond 172">
            <a:extLst>
              <a:ext uri="{FF2B5EF4-FFF2-40B4-BE49-F238E27FC236}">
                <a16:creationId xmlns:a16="http://schemas.microsoft.com/office/drawing/2014/main" id="{F4AEE105-9B71-0CB1-831A-1EDB89A83E85}"/>
              </a:ext>
            </a:extLst>
          </p:cNvPr>
          <p:cNvSpPr/>
          <p:nvPr>
            <p:custDataLst>
              <p:tags r:id="rId170"/>
            </p:custDataLst>
          </p:nvPr>
        </p:nvSpPr>
        <p:spPr bwMode="gray">
          <a:xfrm>
            <a:off x="10334625" y="4835525"/>
            <a:ext cx="101600" cy="1016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2" name="Diamond 171">
            <a:extLst>
              <a:ext uri="{FF2B5EF4-FFF2-40B4-BE49-F238E27FC236}">
                <a16:creationId xmlns:a16="http://schemas.microsoft.com/office/drawing/2014/main" id="{AAA546B4-9B07-84AA-5FEA-82E42E63D84E}"/>
              </a:ext>
            </a:extLst>
          </p:cNvPr>
          <p:cNvSpPr/>
          <p:nvPr>
            <p:custDataLst>
              <p:tags r:id="rId171"/>
            </p:custDataLst>
          </p:nvPr>
        </p:nvSpPr>
        <p:spPr bwMode="gray">
          <a:xfrm>
            <a:off x="5094288" y="3000375"/>
            <a:ext cx="101600" cy="1016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5" name="Diamond 174">
            <a:extLst>
              <a:ext uri="{FF2B5EF4-FFF2-40B4-BE49-F238E27FC236}">
                <a16:creationId xmlns:a16="http://schemas.microsoft.com/office/drawing/2014/main" id="{92744EA8-F595-691D-D02A-2B5D0D535903}"/>
              </a:ext>
            </a:extLst>
          </p:cNvPr>
          <p:cNvSpPr/>
          <p:nvPr>
            <p:custDataLst>
              <p:tags r:id="rId172"/>
            </p:custDataLst>
          </p:nvPr>
        </p:nvSpPr>
        <p:spPr bwMode="gray">
          <a:xfrm>
            <a:off x="4929188" y="3000375"/>
            <a:ext cx="101600" cy="1016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4" name="Diamond 173">
            <a:extLst>
              <a:ext uri="{FF2B5EF4-FFF2-40B4-BE49-F238E27FC236}">
                <a16:creationId xmlns:a16="http://schemas.microsoft.com/office/drawing/2014/main" id="{9FC3E839-21E3-88BF-6C37-F52BEDD17A3B}"/>
              </a:ext>
            </a:extLst>
          </p:cNvPr>
          <p:cNvSpPr/>
          <p:nvPr>
            <p:custDataLst>
              <p:tags r:id="rId173"/>
            </p:custDataLst>
          </p:nvPr>
        </p:nvSpPr>
        <p:spPr bwMode="gray">
          <a:xfrm>
            <a:off x="7766050" y="3802063"/>
            <a:ext cx="101600" cy="101600"/>
          </a:xfrm>
          <a:prstGeom prst="diamond">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6" name="Diamond 175">
            <a:extLst>
              <a:ext uri="{FF2B5EF4-FFF2-40B4-BE49-F238E27FC236}">
                <a16:creationId xmlns:a16="http://schemas.microsoft.com/office/drawing/2014/main" id="{CB7C49BD-4ABE-752E-2ED9-1D952798A2B6}"/>
              </a:ext>
            </a:extLst>
          </p:cNvPr>
          <p:cNvSpPr/>
          <p:nvPr>
            <p:custDataLst>
              <p:tags r:id="rId174"/>
            </p:custDataLst>
          </p:nvPr>
        </p:nvSpPr>
        <p:spPr bwMode="gray">
          <a:xfrm>
            <a:off x="9656763" y="4835525"/>
            <a:ext cx="101600" cy="1016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7" name="Diamond 176">
            <a:extLst>
              <a:ext uri="{FF2B5EF4-FFF2-40B4-BE49-F238E27FC236}">
                <a16:creationId xmlns:a16="http://schemas.microsoft.com/office/drawing/2014/main" id="{479DB760-DAEC-1BDA-C733-E31B38BC2766}"/>
              </a:ext>
            </a:extLst>
          </p:cNvPr>
          <p:cNvSpPr/>
          <p:nvPr>
            <p:custDataLst>
              <p:tags r:id="rId175"/>
            </p:custDataLst>
          </p:nvPr>
        </p:nvSpPr>
        <p:spPr bwMode="gray">
          <a:xfrm>
            <a:off x="4210050" y="2259013"/>
            <a:ext cx="101600" cy="101600"/>
          </a:xfrm>
          <a:prstGeom prst="diamond">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82" name="Straight Connector 181">
            <a:extLst>
              <a:ext uri="{FF2B5EF4-FFF2-40B4-BE49-F238E27FC236}">
                <a16:creationId xmlns:a16="http://schemas.microsoft.com/office/drawing/2014/main" id="{7144F826-5507-813E-7693-2030F71C45B1}"/>
              </a:ext>
            </a:extLst>
          </p:cNvPr>
          <p:cNvCxnSpPr/>
          <p:nvPr>
            <p:custDataLst>
              <p:tags r:id="rId176"/>
            </p:custDataLst>
          </p:nvPr>
        </p:nvCxnSpPr>
        <p:spPr bwMode="auto">
          <a:xfrm flipV="1">
            <a:off x="4576764" y="3124200"/>
            <a:ext cx="403225"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F9ABAB3B-432C-6DF8-AF7E-8D383BB930BD}"/>
              </a:ext>
            </a:extLst>
          </p:cNvPr>
          <p:cNvCxnSpPr>
            <a:cxnSpLocks/>
          </p:cNvCxnSpPr>
          <p:nvPr>
            <p:custDataLst>
              <p:tags r:id="rId177"/>
            </p:custDataLst>
          </p:nvPr>
        </p:nvCxnSpPr>
        <p:spPr bwMode="auto">
          <a:xfrm flipV="1">
            <a:off x="6043613" y="3124200"/>
            <a:ext cx="68263"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96475D3B-0DE1-5FC3-2F91-7E9BA29410F2}"/>
              </a:ext>
            </a:extLst>
          </p:cNvPr>
          <p:cNvCxnSpPr>
            <a:cxnSpLocks/>
          </p:cNvCxnSpPr>
          <p:nvPr>
            <p:custDataLst>
              <p:tags r:id="rId178"/>
            </p:custDataLst>
          </p:nvPr>
        </p:nvCxnSpPr>
        <p:spPr bwMode="auto">
          <a:xfrm flipV="1">
            <a:off x="5110164" y="3124200"/>
            <a:ext cx="34925"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B8CCD7BB-E95E-AE17-91E9-58B719B88578}"/>
              </a:ext>
            </a:extLst>
          </p:cNvPr>
          <p:cNvCxnSpPr/>
          <p:nvPr>
            <p:custDataLst>
              <p:tags r:id="rId179"/>
            </p:custDataLst>
          </p:nvPr>
        </p:nvCxnSpPr>
        <p:spPr bwMode="auto">
          <a:xfrm flipH="1" flipV="1">
            <a:off x="6357938" y="3124200"/>
            <a:ext cx="654050"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1" name="Textplatzhalter 2">
            <a:extLst>
              <a:ext uri="{FF2B5EF4-FFF2-40B4-BE49-F238E27FC236}">
                <a16:creationId xmlns:a16="http://schemas.microsoft.com/office/drawing/2014/main" id="{F15E9EEF-0633-10F9-4247-238B0C3EC814}"/>
              </a:ext>
            </a:extLst>
          </p:cNvPr>
          <p:cNvSpPr>
            <a:spLocks noGrp="1"/>
          </p:cNvSpPr>
          <p:nvPr>
            <p:custDataLst>
              <p:tags r:id="rId180"/>
            </p:custDataLst>
          </p:nvPr>
        </p:nvSpPr>
        <p:spPr bwMode="auto">
          <a:xfrm>
            <a:off x="4340225" y="5689600"/>
            <a:ext cx="704850" cy="219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ementation</a:t>
            </a:r>
            <a:br>
              <a:rPr lang="en-GB" altLang="en-US" sz="800">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altLang="en-US" sz="800">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orkshop</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2" name="Textplatzhalter 2">
            <a:extLst>
              <a:ext uri="{FF2B5EF4-FFF2-40B4-BE49-F238E27FC236}">
                <a16:creationId xmlns:a16="http://schemas.microsoft.com/office/drawing/2014/main" id="{75FFA771-5672-4EDD-86DB-1B3D70C6F7C3}"/>
              </a:ext>
            </a:extLst>
          </p:cNvPr>
          <p:cNvSpPr>
            <a:spLocks noGrp="1"/>
          </p:cNvSpPr>
          <p:nvPr>
            <p:custDataLst>
              <p:tags r:id="rId181"/>
            </p:custDataLst>
          </p:nvPr>
        </p:nvSpPr>
        <p:spPr bwMode="auto">
          <a:xfrm>
            <a:off x="5100638" y="5689600"/>
            <a:ext cx="581025"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ea typeface="Lato" panose="020F0502020204030203" pitchFamily="34" charset="0"/>
                <a:cs typeface="Lato" panose="020F0502020204030203" pitchFamily="34" charset="0"/>
              </a:rPr>
              <a:t>PI 2 Planning</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2" name="Textplatzhalter 2">
            <a:extLst>
              <a:ext uri="{FF2B5EF4-FFF2-40B4-BE49-F238E27FC236}">
                <a16:creationId xmlns:a16="http://schemas.microsoft.com/office/drawing/2014/main" id="{0627B7B6-BB7C-81FB-6E6C-6FFF10135AE7}"/>
              </a:ext>
            </a:extLst>
          </p:cNvPr>
          <p:cNvSpPr>
            <a:spLocks noGrp="1"/>
          </p:cNvSpPr>
          <p:nvPr>
            <p:custDataLst>
              <p:tags r:id="rId182"/>
            </p:custDataLst>
          </p:nvPr>
        </p:nvSpPr>
        <p:spPr bwMode="auto">
          <a:xfrm>
            <a:off x="1766888" y="3500438"/>
            <a:ext cx="13668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rPr>
              <a:t>Providing of sampling data</a:t>
            </a:r>
            <a:endParaRPr kumimoji="0" 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endParaRPr>
          </a:p>
        </p:txBody>
      </p:sp>
      <p:sp>
        <p:nvSpPr>
          <p:cNvPr id="193" name="Text Placeholder 2">
            <a:extLst>
              <a:ext uri="{FF2B5EF4-FFF2-40B4-BE49-F238E27FC236}">
                <a16:creationId xmlns:a16="http://schemas.microsoft.com/office/drawing/2014/main" id="{4598ACE7-E4E8-C946-66FB-465A8A425F05}"/>
              </a:ext>
            </a:extLst>
          </p:cNvPr>
          <p:cNvSpPr>
            <a:spLocks noGrp="1"/>
          </p:cNvSpPr>
          <p:nvPr>
            <p:custDataLst>
              <p:tags r:id="rId183"/>
            </p:custDataLst>
          </p:nvPr>
        </p:nvSpPr>
        <p:spPr bwMode="auto">
          <a:xfrm>
            <a:off x="11042651" y="3500438"/>
            <a:ext cx="1444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KP</a:t>
            </a:r>
            <a:endPar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endParaRPr>
          </a:p>
        </p:txBody>
      </p:sp>
      <p:sp>
        <p:nvSpPr>
          <p:cNvPr id="223" name="Textplatzhalter 2">
            <a:extLst>
              <a:ext uri="{FF2B5EF4-FFF2-40B4-BE49-F238E27FC236}">
                <a16:creationId xmlns:a16="http://schemas.microsoft.com/office/drawing/2014/main" id="{61110FBE-D1EA-21C7-FCC4-EECDF965F845}"/>
              </a:ext>
            </a:extLst>
          </p:cNvPr>
          <p:cNvSpPr>
            <a:spLocks noGrp="1"/>
          </p:cNvSpPr>
          <p:nvPr>
            <p:custDataLst>
              <p:tags r:id="rId184"/>
            </p:custDataLst>
          </p:nvPr>
        </p:nvSpPr>
        <p:spPr bwMode="auto">
          <a:xfrm>
            <a:off x="7485063" y="5689600"/>
            <a:ext cx="581025"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ea typeface="Lato" panose="020F0502020204030203" pitchFamily="34" charset="0"/>
                <a:cs typeface="Lato" panose="020F0502020204030203" pitchFamily="34" charset="0"/>
              </a:rPr>
              <a:t>PI 3 Planning</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194" name="Textplatzhalter 2">
            <a:extLst>
              <a:ext uri="{FF2B5EF4-FFF2-40B4-BE49-F238E27FC236}">
                <a16:creationId xmlns:a16="http://schemas.microsoft.com/office/drawing/2014/main" id="{ACE3B69E-3DE9-CDF2-958F-770A00666A54}"/>
              </a:ext>
            </a:extLst>
          </p:cNvPr>
          <p:cNvSpPr>
            <a:spLocks noGrp="1"/>
          </p:cNvSpPr>
          <p:nvPr>
            <p:custDataLst>
              <p:tags r:id="rId185"/>
            </p:custDataLst>
          </p:nvPr>
        </p:nvSpPr>
        <p:spPr bwMode="auto">
          <a:xfrm>
            <a:off x="4881563" y="3910013"/>
            <a:ext cx="735013"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ea typeface="Lato" panose="020F0502020204030203" pitchFamily="34" charset="0"/>
                <a:cs typeface="Lato" panose="020F0502020204030203" pitchFamily="34" charset="0"/>
              </a:rPr>
              <a:t>AI Configuration</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8" name="Textplatzhalter 2">
            <a:extLst>
              <a:ext uri="{FF2B5EF4-FFF2-40B4-BE49-F238E27FC236}">
                <a16:creationId xmlns:a16="http://schemas.microsoft.com/office/drawing/2014/main" id="{C1E93EA5-D967-8B4C-9762-07C5172A76A0}"/>
              </a:ext>
            </a:extLst>
          </p:cNvPr>
          <p:cNvSpPr>
            <a:spLocks noGrp="1"/>
          </p:cNvSpPr>
          <p:nvPr>
            <p:custDataLst>
              <p:tags r:id="rId186"/>
            </p:custDataLst>
          </p:nvPr>
        </p:nvSpPr>
        <p:spPr bwMode="auto">
          <a:xfrm>
            <a:off x="9242425" y="5689600"/>
            <a:ext cx="355600"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b="1" dirty="0">
                <a:solidFill>
                  <a:srgbClr val="007770"/>
                </a:solidFill>
                <a:effectLst/>
                <a:ea typeface="Lato" panose="020F0502020204030203" pitchFamily="34" charset="0"/>
                <a:cs typeface="Lato" panose="020F0502020204030203" pitchFamily="34" charset="0"/>
              </a:rPr>
              <a:t>TODAY</a:t>
            </a:r>
            <a:endParaRPr lang="en-GB" sz="800" b="1" dirty="0">
              <a:solidFill>
                <a:srgbClr val="00777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5" name="Textplatzhalter 2">
            <a:extLst>
              <a:ext uri="{FF2B5EF4-FFF2-40B4-BE49-F238E27FC236}">
                <a16:creationId xmlns:a16="http://schemas.microsoft.com/office/drawing/2014/main" id="{06B387D1-3A97-B219-3F48-927C5D2A1ADF}"/>
              </a:ext>
            </a:extLst>
          </p:cNvPr>
          <p:cNvSpPr>
            <a:spLocks noGrp="1"/>
          </p:cNvSpPr>
          <p:nvPr>
            <p:custDataLst>
              <p:tags r:id="rId187"/>
            </p:custDataLst>
          </p:nvPr>
        </p:nvSpPr>
        <p:spPr bwMode="auto">
          <a:xfrm>
            <a:off x="5778500" y="3910013"/>
            <a:ext cx="1552575" cy="109538"/>
          </a:xfrm>
          <a:prstGeom prst="rect">
            <a:avLst/>
          </a:prstGeom>
          <a:solidFill>
            <a:srgbClr val="DFE5EF"/>
          </a:solidFill>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abelling &amp; Automated AI Learning</a:t>
            </a:r>
          </a:p>
        </p:txBody>
      </p:sp>
      <p:sp>
        <p:nvSpPr>
          <p:cNvPr id="231" name="Textplatzhalter 2">
            <a:extLst>
              <a:ext uri="{FF2B5EF4-FFF2-40B4-BE49-F238E27FC236}">
                <a16:creationId xmlns:a16="http://schemas.microsoft.com/office/drawing/2014/main" id="{C0D1B7CF-1369-BBE5-D499-060ACBD8770F}"/>
              </a:ext>
            </a:extLst>
          </p:cNvPr>
          <p:cNvSpPr>
            <a:spLocks noGrp="1"/>
          </p:cNvSpPr>
          <p:nvPr>
            <p:custDataLst>
              <p:tags r:id="rId188"/>
            </p:custDataLst>
          </p:nvPr>
        </p:nvSpPr>
        <p:spPr bwMode="auto">
          <a:xfrm>
            <a:off x="10171113" y="5689600"/>
            <a:ext cx="387350" cy="219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a:solidFill>
                  <a:schemeClr val="bg1">
                    <a:lumMod val="50000"/>
                  </a:schemeClr>
                </a:solidFill>
                <a:ea typeface="Lato" panose="020F0502020204030203" pitchFamily="34" charset="0"/>
                <a:cs typeface="Lato" panose="020F0502020204030203" pitchFamily="34" charset="0"/>
              </a:rPr>
              <a:t>Go-live</a:t>
            </a:r>
            <a:br>
              <a:rPr lang="en-GB" altLang="en-US" sz="800">
                <a:solidFill>
                  <a:schemeClr val="bg1">
                    <a:lumMod val="50000"/>
                  </a:schemeClr>
                </a:solidFill>
                <a:ea typeface="Lato" panose="020F0502020204030203" pitchFamily="34" charset="0"/>
                <a:cs typeface="Lato" panose="020F0502020204030203" pitchFamily="34" charset="0"/>
              </a:rPr>
            </a:br>
            <a:r>
              <a:rPr lang="en-GB" altLang="en-US" sz="800">
                <a:solidFill>
                  <a:schemeClr val="bg1">
                    <a:lumMod val="50000"/>
                  </a:schemeClr>
                </a:solidFill>
                <a:ea typeface="Lato" panose="020F0502020204030203" pitchFamily="34" charset="0"/>
                <a:cs typeface="Lato" panose="020F0502020204030203" pitchFamily="34" charset="0"/>
              </a:rPr>
              <a:t>Decision</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197" name="Textplatzhalter 2">
            <a:extLst>
              <a:ext uri="{FF2B5EF4-FFF2-40B4-BE49-F238E27FC236}">
                <a16:creationId xmlns:a16="http://schemas.microsoft.com/office/drawing/2014/main" id="{A784FDA2-C8C4-895A-B9AF-D100D475D14F}"/>
              </a:ext>
            </a:extLst>
          </p:cNvPr>
          <p:cNvSpPr>
            <a:spLocks noGrp="1"/>
          </p:cNvSpPr>
          <p:nvPr>
            <p:custDataLst>
              <p:tags r:id="rId189"/>
            </p:custDataLst>
          </p:nvPr>
        </p:nvSpPr>
        <p:spPr bwMode="auto">
          <a:xfrm>
            <a:off x="7372350" y="3910013"/>
            <a:ext cx="889000"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ea typeface="Lato" panose="020F0502020204030203" pitchFamily="34" charset="0"/>
                <a:cs typeface="Lato" panose="020F0502020204030203" pitchFamily="34" charset="0"/>
              </a:rPr>
              <a:t>Model Optimization</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3" name="Textplatzhalter 2">
            <a:extLst>
              <a:ext uri="{FF2B5EF4-FFF2-40B4-BE49-F238E27FC236}">
                <a16:creationId xmlns:a16="http://schemas.microsoft.com/office/drawing/2014/main" id="{80E286B3-F992-9B26-E600-A76916BA4565}"/>
              </a:ext>
            </a:extLst>
          </p:cNvPr>
          <p:cNvSpPr>
            <a:spLocks noGrp="1"/>
          </p:cNvSpPr>
          <p:nvPr>
            <p:custDataLst>
              <p:tags r:id="rId190"/>
            </p:custDataLst>
          </p:nvPr>
        </p:nvSpPr>
        <p:spPr bwMode="auto">
          <a:xfrm>
            <a:off x="10599738" y="5689600"/>
            <a:ext cx="481013" cy="32861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dirty="0">
                <a:solidFill>
                  <a:schemeClr val="bg1">
                    <a:lumMod val="50000"/>
                  </a:schemeClr>
                </a:solidFill>
                <a:ea typeface="Lato" panose="020F0502020204030203" pitchFamily="34" charset="0"/>
                <a:cs typeface="Lato" panose="020F0502020204030203" pitchFamily="34" charset="0"/>
              </a:rPr>
              <a:t>Go-live</a:t>
            </a:r>
            <a:br>
              <a:rPr lang="en-GB" altLang="en-US" sz="800" dirty="0">
                <a:solidFill>
                  <a:schemeClr val="bg1">
                    <a:lumMod val="50000"/>
                  </a:schemeClr>
                </a:solidFill>
                <a:ea typeface="Lato" panose="020F0502020204030203" pitchFamily="34" charset="0"/>
                <a:cs typeface="Lato" panose="020F0502020204030203" pitchFamily="34" charset="0"/>
              </a:rPr>
            </a:br>
            <a:r>
              <a:rPr lang="en-GB" altLang="en-US" sz="800" dirty="0">
                <a:solidFill>
                  <a:schemeClr val="bg1">
                    <a:lumMod val="50000"/>
                  </a:schemeClr>
                </a:solidFill>
                <a:ea typeface="Lato" panose="020F0502020204030203" pitchFamily="34" charset="0"/>
                <a:cs typeface="Lato" panose="020F0502020204030203" pitchFamily="34" charset="0"/>
              </a:rPr>
              <a:t> 2.14 (not </a:t>
            </a:r>
            <a:br>
              <a:rPr lang="en-GB" altLang="en-US" sz="800" dirty="0">
                <a:solidFill>
                  <a:schemeClr val="bg1">
                    <a:lumMod val="50000"/>
                  </a:schemeClr>
                </a:solidFill>
                <a:ea typeface="Lato" panose="020F0502020204030203" pitchFamily="34" charset="0"/>
                <a:cs typeface="Lato" panose="020F0502020204030203" pitchFamily="34" charset="0"/>
              </a:rPr>
            </a:br>
            <a:r>
              <a:rPr lang="en-GB" altLang="en-US" sz="800" dirty="0">
                <a:solidFill>
                  <a:schemeClr val="bg1">
                    <a:lumMod val="50000"/>
                  </a:schemeClr>
                </a:solidFill>
                <a:ea typeface="Lato" panose="020F0502020204030203" pitchFamily="34" charset="0"/>
                <a:cs typeface="Lato" panose="020F0502020204030203" pitchFamily="34" charset="0"/>
              </a:rPr>
              <a:t>confirmed)</a:t>
            </a:r>
            <a:endParaRPr lang="en-GB" sz="800" dirty="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198" name="Textplatzhalter 2">
            <a:extLst>
              <a:ext uri="{FF2B5EF4-FFF2-40B4-BE49-F238E27FC236}">
                <a16:creationId xmlns:a16="http://schemas.microsoft.com/office/drawing/2014/main" id="{2BCE3631-1361-98FD-A51E-07F966FF261B}"/>
              </a:ext>
            </a:extLst>
          </p:cNvPr>
          <p:cNvSpPr>
            <a:spLocks noGrp="1"/>
          </p:cNvSpPr>
          <p:nvPr>
            <p:custDataLst>
              <p:tags r:id="rId191"/>
            </p:custDataLst>
          </p:nvPr>
        </p:nvSpPr>
        <p:spPr bwMode="auto">
          <a:xfrm>
            <a:off x="9839325" y="3910013"/>
            <a:ext cx="519113"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ea typeface="Lato" panose="020F0502020204030203" pitchFamily="34" charset="0"/>
                <a:cs typeface="Lato" panose="020F0502020204030203" pitchFamily="34" charset="0"/>
              </a:rPr>
              <a:t>Refinement</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232" name="Textplatzhalter 2">
            <a:extLst>
              <a:ext uri="{FF2B5EF4-FFF2-40B4-BE49-F238E27FC236}">
                <a16:creationId xmlns:a16="http://schemas.microsoft.com/office/drawing/2014/main" id="{88A9019B-D5E4-8402-6AB3-396D79C9C0B5}"/>
              </a:ext>
            </a:extLst>
          </p:cNvPr>
          <p:cNvSpPr>
            <a:spLocks noGrp="1"/>
          </p:cNvSpPr>
          <p:nvPr>
            <p:custDataLst>
              <p:tags r:id="rId192"/>
            </p:custDataLst>
          </p:nvPr>
        </p:nvSpPr>
        <p:spPr bwMode="auto">
          <a:xfrm>
            <a:off x="4076700" y="2382838"/>
            <a:ext cx="368300" cy="219075"/>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ick-off</a:t>
            </a:r>
            <a:br>
              <a:rPr lang="en-GB" altLang="en-US"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altLang="en-US"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pr 13</a:t>
            </a:r>
            <a:endPar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199" name="Textplatzhalter 2">
            <a:extLst>
              <a:ext uri="{FF2B5EF4-FFF2-40B4-BE49-F238E27FC236}">
                <a16:creationId xmlns:a16="http://schemas.microsoft.com/office/drawing/2014/main" id="{2C8608AF-7A34-9CCB-03CF-6D48C9D9C635}"/>
              </a:ext>
            </a:extLst>
          </p:cNvPr>
          <p:cNvSpPr>
            <a:spLocks noGrp="1"/>
          </p:cNvSpPr>
          <p:nvPr>
            <p:custDataLst>
              <p:tags r:id="rId193"/>
            </p:custDataLst>
          </p:nvPr>
        </p:nvSpPr>
        <p:spPr bwMode="auto">
          <a:xfrm>
            <a:off x="7908925" y="3798888"/>
            <a:ext cx="320675"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b="1">
                <a:solidFill>
                  <a:schemeClr val="bg1">
                    <a:lumMod val="50000"/>
                  </a:schemeClr>
                </a:solidFill>
                <a:effectLst/>
                <a:ea typeface="Lato" panose="020F0502020204030203" pitchFamily="34" charset="0"/>
                <a:cs typeface="Lato" panose="020F0502020204030203" pitchFamily="34" charset="0"/>
              </a:rPr>
              <a:t>AI v2.0</a:t>
            </a:r>
            <a:endPar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08" name="Textplatzhalter 2">
            <a:extLst>
              <a:ext uri="{FF2B5EF4-FFF2-40B4-BE49-F238E27FC236}">
                <a16:creationId xmlns:a16="http://schemas.microsoft.com/office/drawing/2014/main" id="{1AA41FED-03C5-BC83-D312-32674460613E}"/>
              </a:ext>
            </a:extLst>
          </p:cNvPr>
          <p:cNvSpPr>
            <a:spLocks noGrp="1"/>
          </p:cNvSpPr>
          <p:nvPr>
            <p:custDataLst>
              <p:tags r:id="rId194"/>
            </p:custDataLst>
          </p:nvPr>
        </p:nvSpPr>
        <p:spPr bwMode="auto">
          <a:xfrm>
            <a:off x="1766888" y="2251075"/>
            <a:ext cx="1927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lang="en-US" sz="1000">
                <a:solidFill>
                  <a:srgbClr val="000000"/>
                </a:solidFill>
                <a:latin typeface="Open Sauce One" panose="00000800000000000000"/>
                <a:sym typeface="Open Sauce One" panose="00000800000000000000"/>
              </a:rPr>
              <a:t>Ongoing PM + scheduled touchpoints</a:t>
            </a:r>
            <a:endParaRPr kumimoji="0" 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endParaRPr>
          </a:p>
        </p:txBody>
      </p:sp>
      <p:sp>
        <p:nvSpPr>
          <p:cNvPr id="200" name="Textplatzhalter 2">
            <a:extLst>
              <a:ext uri="{FF2B5EF4-FFF2-40B4-BE49-F238E27FC236}">
                <a16:creationId xmlns:a16="http://schemas.microsoft.com/office/drawing/2014/main" id="{FB0A17AC-9CAF-81D0-4776-C6F21AFDD656}"/>
              </a:ext>
            </a:extLst>
          </p:cNvPr>
          <p:cNvSpPr>
            <a:spLocks noGrp="1"/>
          </p:cNvSpPr>
          <p:nvPr>
            <p:custDataLst>
              <p:tags r:id="rId195"/>
            </p:custDataLst>
          </p:nvPr>
        </p:nvSpPr>
        <p:spPr bwMode="gray">
          <a:xfrm>
            <a:off x="10006013" y="3798888"/>
            <a:ext cx="320675" cy="109538"/>
          </a:xfrm>
          <a:prstGeom prst="rect">
            <a:avLst/>
          </a:prstGeom>
          <a:solidFill>
            <a:schemeClr val="bg1"/>
          </a:solidFill>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b="1">
                <a:solidFill>
                  <a:schemeClr val="bg1">
                    <a:lumMod val="50000"/>
                  </a:schemeClr>
                </a:solidFill>
                <a:effectLst/>
                <a:ea typeface="Lato" panose="020F0502020204030203" pitchFamily="34" charset="0"/>
                <a:cs typeface="Lato" panose="020F0502020204030203" pitchFamily="34" charset="0"/>
              </a:rPr>
              <a:t>AI v3.0</a:t>
            </a:r>
            <a:endPar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27" name="Text Placeholder 2">
            <a:extLst>
              <a:ext uri="{FF2B5EF4-FFF2-40B4-BE49-F238E27FC236}">
                <a16:creationId xmlns:a16="http://schemas.microsoft.com/office/drawing/2014/main" id="{C61B0CE8-5F64-5C61-4ACA-0474E76273B6}"/>
              </a:ext>
            </a:extLst>
          </p:cNvPr>
          <p:cNvSpPr>
            <a:spLocks noGrp="1"/>
          </p:cNvSpPr>
          <p:nvPr>
            <p:custDataLst>
              <p:tags r:id="rId196"/>
            </p:custDataLst>
          </p:nvPr>
        </p:nvSpPr>
        <p:spPr bwMode="auto">
          <a:xfrm>
            <a:off x="11042650" y="2251075"/>
            <a:ext cx="344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Hy, KP</a:t>
            </a:r>
          </a:p>
        </p:txBody>
      </p:sp>
      <p:sp>
        <p:nvSpPr>
          <p:cNvPr id="201" name="Textplatzhalter 2">
            <a:extLst>
              <a:ext uri="{FF2B5EF4-FFF2-40B4-BE49-F238E27FC236}">
                <a16:creationId xmlns:a16="http://schemas.microsoft.com/office/drawing/2014/main" id="{70AE1997-CEFA-0550-09B2-AC30B60C99BB}"/>
              </a:ext>
            </a:extLst>
          </p:cNvPr>
          <p:cNvSpPr>
            <a:spLocks noGrp="1"/>
          </p:cNvSpPr>
          <p:nvPr>
            <p:custDataLst>
              <p:tags r:id="rId197"/>
            </p:custDataLst>
          </p:nvPr>
        </p:nvSpPr>
        <p:spPr bwMode="auto">
          <a:xfrm>
            <a:off x="1766889" y="3794125"/>
            <a:ext cx="19923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kumimoji="0" lang="en-US" alt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rPr>
              <a:t>ML model re-training and optimization</a:t>
            </a:r>
            <a:endParaRPr kumimoji="0" lang="en-US" sz="1000" b="0" i="0" strike="noStrike" kern="1200" cap="none" spc="0" normalizeH="0" baseline="0" noProof="0">
              <a:ln>
                <a:noFill/>
              </a:ln>
              <a:solidFill>
                <a:srgbClr val="000000"/>
              </a:solidFill>
              <a:effectLst/>
              <a:uLnTx/>
              <a:uFillTx/>
              <a:latin typeface="Open Sauce One" panose="00000800000000000000"/>
              <a:sym typeface="Open Sauce One" panose="00000800000000000000"/>
            </a:endParaRPr>
          </a:p>
        </p:txBody>
      </p:sp>
      <p:sp>
        <p:nvSpPr>
          <p:cNvPr id="202" name="Text Placeholder 2">
            <a:extLst>
              <a:ext uri="{FF2B5EF4-FFF2-40B4-BE49-F238E27FC236}">
                <a16:creationId xmlns:a16="http://schemas.microsoft.com/office/drawing/2014/main" id="{441CDD02-7FF6-4D52-4E60-FE9D1E60F9E8}"/>
              </a:ext>
            </a:extLst>
          </p:cNvPr>
          <p:cNvSpPr>
            <a:spLocks noGrp="1"/>
          </p:cNvSpPr>
          <p:nvPr>
            <p:custDataLst>
              <p:tags r:id="rId198"/>
            </p:custDataLst>
          </p:nvPr>
        </p:nvSpPr>
        <p:spPr bwMode="auto">
          <a:xfrm>
            <a:off x="11042650" y="3794125"/>
            <a:ext cx="146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r>
              <a:rPr lang="en-US" altLang="en-US" sz="900">
                <a:solidFill>
                  <a:srgbClr val="000000"/>
                </a:solidFill>
                <a:latin typeface="Lato" panose="020F0502020204030203" pitchFamily="34" charset="0"/>
              </a:rPr>
              <a:t>Hy</a:t>
            </a:r>
            <a:endParaRPr kumimoji="0" lang="en-US" sz="900" b="0"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useBgFill="1">
        <p:nvSpPr>
          <p:cNvPr id="203" name="Textplatzhalter 2">
            <a:extLst>
              <a:ext uri="{FF2B5EF4-FFF2-40B4-BE49-F238E27FC236}">
                <a16:creationId xmlns:a16="http://schemas.microsoft.com/office/drawing/2014/main" id="{629C854D-0B31-D4C4-452B-089A7007C9AD}"/>
              </a:ext>
            </a:extLst>
          </p:cNvPr>
          <p:cNvSpPr>
            <a:spLocks noGrp="1"/>
          </p:cNvSpPr>
          <p:nvPr>
            <p:custDataLst>
              <p:tags r:id="rId199"/>
            </p:custDataLst>
          </p:nvPr>
        </p:nvSpPr>
        <p:spPr bwMode="auto">
          <a:xfrm>
            <a:off x="4452938" y="4279900"/>
            <a:ext cx="1509713"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ema and Environments Set-up</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225" name="Textplatzhalter 2">
            <a:extLst>
              <a:ext uri="{FF2B5EF4-FFF2-40B4-BE49-F238E27FC236}">
                <a16:creationId xmlns:a16="http://schemas.microsoft.com/office/drawing/2014/main" id="{B5D40066-A437-650A-8418-6A64230EBE39}"/>
              </a:ext>
            </a:extLst>
          </p:cNvPr>
          <p:cNvSpPr>
            <a:spLocks noGrp="1"/>
          </p:cNvSpPr>
          <p:nvPr>
            <p:custDataLst>
              <p:tags r:id="rId200"/>
            </p:custDataLst>
          </p:nvPr>
        </p:nvSpPr>
        <p:spPr bwMode="auto">
          <a:xfrm>
            <a:off x="4191000" y="2738438"/>
            <a:ext cx="530225"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ea typeface="Lato" panose="020F0502020204030203" pitchFamily="34" charset="0"/>
                <a:cs typeface="Lato" panose="020F0502020204030203" pitchFamily="34" charset="0"/>
              </a:rPr>
              <a:t>Onboarding</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205" name="Textplatzhalter 2">
            <a:extLst>
              <a:ext uri="{FF2B5EF4-FFF2-40B4-BE49-F238E27FC236}">
                <a16:creationId xmlns:a16="http://schemas.microsoft.com/office/drawing/2014/main" id="{85681A62-662B-7928-3D27-1F9E4F39041C}"/>
              </a:ext>
            </a:extLst>
          </p:cNvPr>
          <p:cNvSpPr>
            <a:spLocks noGrp="1"/>
          </p:cNvSpPr>
          <p:nvPr>
            <p:custDataLst>
              <p:tags r:id="rId201"/>
            </p:custDataLst>
          </p:nvPr>
        </p:nvSpPr>
        <p:spPr bwMode="auto">
          <a:xfrm>
            <a:off x="7150100" y="4279900"/>
            <a:ext cx="717550"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ea typeface="Lato" panose="020F0502020204030203" pitchFamily="34" charset="0"/>
                <a:cs typeface="Lato" panose="020F0502020204030203" pitchFamily="34" charset="0"/>
              </a:rPr>
              <a:t>Validation Rules</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221" name="Textplatzhalter 2">
            <a:extLst>
              <a:ext uri="{FF2B5EF4-FFF2-40B4-BE49-F238E27FC236}">
                <a16:creationId xmlns:a16="http://schemas.microsoft.com/office/drawing/2014/main" id="{93AF85C3-9FD6-C93B-4B17-E9261A3279A7}"/>
              </a:ext>
            </a:extLst>
          </p:cNvPr>
          <p:cNvSpPr>
            <a:spLocks noGrp="1"/>
          </p:cNvSpPr>
          <p:nvPr>
            <p:custDataLst>
              <p:tags r:id="rId202"/>
            </p:custDataLst>
          </p:nvPr>
        </p:nvSpPr>
        <p:spPr bwMode="auto">
          <a:xfrm>
            <a:off x="9861550" y="2738438"/>
            <a:ext cx="596900"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ser Training</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219" name="Textplatzhalter 2">
            <a:extLst>
              <a:ext uri="{FF2B5EF4-FFF2-40B4-BE49-F238E27FC236}">
                <a16:creationId xmlns:a16="http://schemas.microsoft.com/office/drawing/2014/main" id="{FDAC1C35-78B8-2D7D-E6EE-ADB1D9D1935D}"/>
              </a:ext>
            </a:extLst>
          </p:cNvPr>
          <p:cNvSpPr>
            <a:spLocks noGrp="1"/>
          </p:cNvSpPr>
          <p:nvPr>
            <p:custDataLst>
              <p:tags r:id="rId203"/>
            </p:custDataLst>
          </p:nvPr>
        </p:nvSpPr>
        <p:spPr bwMode="auto">
          <a:xfrm>
            <a:off x="10499725" y="2738438"/>
            <a:ext cx="571500"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8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o-live Q&amp;A</a:t>
            </a:r>
          </a:p>
        </p:txBody>
      </p:sp>
      <p:sp>
        <p:nvSpPr>
          <p:cNvPr id="217" name="Textplatzhalter 2">
            <a:extLst>
              <a:ext uri="{FF2B5EF4-FFF2-40B4-BE49-F238E27FC236}">
                <a16:creationId xmlns:a16="http://schemas.microsoft.com/office/drawing/2014/main" id="{6761600B-1A54-7531-364B-B8CE8C5A35B2}"/>
              </a:ext>
            </a:extLst>
          </p:cNvPr>
          <p:cNvSpPr>
            <a:spLocks noGrp="1"/>
          </p:cNvSpPr>
          <p:nvPr>
            <p:custDataLst>
              <p:tags r:id="rId204"/>
            </p:custDataLst>
          </p:nvPr>
        </p:nvSpPr>
        <p:spPr bwMode="auto">
          <a:xfrm>
            <a:off x="1766889" y="2622550"/>
            <a:ext cx="1439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000">
                <a:solidFill>
                  <a:srgbClr val="000000"/>
                </a:solidFill>
                <a:latin typeface="Open Sauce One" panose="00000800000000000000"/>
                <a:sym typeface="Open Sauce One" panose="00000800000000000000"/>
              </a:rPr>
              <a:t>User Onboarding &amp; Training</a:t>
            </a:r>
            <a:endParaRPr kumimoji="0" lang="en-US" sz="1000" b="0" i="0" strike="noStrike" kern="1200" cap="none" spc="0" normalizeH="0" baseline="0" noProof="0">
              <a:ln>
                <a:noFill/>
              </a:ln>
              <a:solidFill>
                <a:srgbClr val="000000"/>
              </a:solidFill>
              <a:effectLst/>
              <a:uLnTx/>
              <a:uFillTx/>
              <a:latin typeface="Open Sauce One" panose="00000800000000000000"/>
              <a:sym typeface="Open Sauce One" panose="00000800000000000000"/>
            </a:endParaRPr>
          </a:p>
        </p:txBody>
      </p:sp>
      <p:sp>
        <p:nvSpPr>
          <p:cNvPr id="209" name="Textplatzhalter 2">
            <a:extLst>
              <a:ext uri="{FF2B5EF4-FFF2-40B4-BE49-F238E27FC236}">
                <a16:creationId xmlns:a16="http://schemas.microsoft.com/office/drawing/2014/main" id="{88D7C035-6697-6B57-302F-DD1DE4C2CCED}"/>
              </a:ext>
            </a:extLst>
          </p:cNvPr>
          <p:cNvSpPr>
            <a:spLocks noGrp="1"/>
          </p:cNvSpPr>
          <p:nvPr>
            <p:custDataLst>
              <p:tags r:id="rId205"/>
            </p:custDataLst>
          </p:nvPr>
        </p:nvSpPr>
        <p:spPr bwMode="auto">
          <a:xfrm>
            <a:off x="1766888" y="4164013"/>
            <a:ext cx="1439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rPr>
              <a:t>Application implementation</a:t>
            </a:r>
          </a:p>
        </p:txBody>
      </p:sp>
      <p:sp>
        <p:nvSpPr>
          <p:cNvPr id="210" name="Text Placeholder 2">
            <a:extLst>
              <a:ext uri="{FF2B5EF4-FFF2-40B4-BE49-F238E27FC236}">
                <a16:creationId xmlns:a16="http://schemas.microsoft.com/office/drawing/2014/main" id="{E3A33267-C59E-A49C-FF23-016C73D2BED7}"/>
              </a:ext>
            </a:extLst>
          </p:cNvPr>
          <p:cNvSpPr>
            <a:spLocks noGrp="1"/>
          </p:cNvSpPr>
          <p:nvPr>
            <p:custDataLst>
              <p:tags r:id="rId206"/>
            </p:custDataLst>
          </p:nvPr>
        </p:nvSpPr>
        <p:spPr bwMode="auto">
          <a:xfrm>
            <a:off x="11042650" y="4164013"/>
            <a:ext cx="146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Hy</a:t>
            </a:r>
            <a:endPar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endParaRPr>
          </a:p>
        </p:txBody>
      </p:sp>
      <p:sp>
        <p:nvSpPr>
          <p:cNvPr id="214" name="Text Placeholder 2">
            <a:extLst>
              <a:ext uri="{FF2B5EF4-FFF2-40B4-BE49-F238E27FC236}">
                <a16:creationId xmlns:a16="http://schemas.microsoft.com/office/drawing/2014/main" id="{C6644BF3-FEF7-1F40-4852-D5F5CACFFBBD}"/>
              </a:ext>
            </a:extLst>
          </p:cNvPr>
          <p:cNvSpPr>
            <a:spLocks noGrp="1"/>
          </p:cNvSpPr>
          <p:nvPr>
            <p:custDataLst>
              <p:tags r:id="rId207"/>
            </p:custDataLst>
          </p:nvPr>
        </p:nvSpPr>
        <p:spPr bwMode="auto">
          <a:xfrm>
            <a:off x="11042650" y="2622550"/>
            <a:ext cx="344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r>
              <a:rPr lang="en-US" altLang="en-US" sz="900">
                <a:solidFill>
                  <a:srgbClr val="000000"/>
                </a:solidFill>
                <a:latin typeface="Lato" panose="020F0502020204030203" pitchFamily="34" charset="0"/>
              </a:rPr>
              <a:t>Hy, KP</a:t>
            </a:r>
            <a:endParaRPr kumimoji="0" lang="en-US" sz="900" b="0" i="0" strike="noStrike" kern="1200" cap="none" spc="0" normalizeH="0" baseline="0" noProof="0">
              <a:ln>
                <a:noFill/>
              </a:ln>
              <a:solidFill>
                <a:srgbClr val="000000"/>
              </a:solidFill>
              <a:effectLst/>
              <a:uLnTx/>
              <a:uFillTx/>
              <a:latin typeface="Lato" panose="020F0502020204030203" pitchFamily="34" charset="0"/>
              <a:sym typeface="Lato" panose="020F0502020204030203" pitchFamily="34" charset="0"/>
            </a:endParaRPr>
          </a:p>
        </p:txBody>
      </p:sp>
      <p:sp useBgFill="1">
        <p:nvSpPr>
          <p:cNvPr id="213" name="Textplatzhalter 2">
            <a:extLst>
              <a:ext uri="{FF2B5EF4-FFF2-40B4-BE49-F238E27FC236}">
                <a16:creationId xmlns:a16="http://schemas.microsoft.com/office/drawing/2014/main" id="{096B65FE-535D-F854-B06F-15F002AD215E}"/>
              </a:ext>
            </a:extLst>
          </p:cNvPr>
          <p:cNvSpPr>
            <a:spLocks noGrp="1"/>
          </p:cNvSpPr>
          <p:nvPr>
            <p:custDataLst>
              <p:tags r:id="rId208"/>
            </p:custDataLst>
          </p:nvPr>
        </p:nvSpPr>
        <p:spPr bwMode="auto">
          <a:xfrm>
            <a:off x="4075113" y="3160713"/>
            <a:ext cx="501650" cy="219075"/>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b="1">
                <a:solidFill>
                  <a:schemeClr val="bg1">
                    <a:lumMod val="50000"/>
                  </a:schemeClr>
                </a:solidFill>
                <a:effectLst/>
                <a:ea typeface="Lato" panose="020F0502020204030203" pitchFamily="34" charset="0"/>
                <a:cs typeface="Lato" panose="020F0502020204030203" pitchFamily="34" charset="0"/>
              </a:rPr>
              <a:t>Functional </a:t>
            </a:r>
            <a:br>
              <a:rPr lang="en-GB" altLang="en-US" sz="800" b="1">
                <a:solidFill>
                  <a:schemeClr val="bg1">
                    <a:lumMod val="50000"/>
                  </a:schemeClr>
                </a:solidFill>
                <a:effectLst/>
                <a:ea typeface="Lato" panose="020F0502020204030203" pitchFamily="34" charset="0"/>
                <a:cs typeface="Lato" panose="020F0502020204030203" pitchFamily="34" charset="0"/>
              </a:rPr>
            </a:br>
            <a:r>
              <a:rPr lang="en-GB" altLang="en-US" sz="800" b="1">
                <a:solidFill>
                  <a:schemeClr val="bg1">
                    <a:lumMod val="50000"/>
                  </a:schemeClr>
                </a:solidFill>
                <a:effectLst/>
                <a:ea typeface="Lato" panose="020F0502020204030203" pitchFamily="34" charset="0"/>
                <a:cs typeface="Lato" panose="020F0502020204030203" pitchFamily="34" charset="0"/>
              </a:rPr>
              <a:t>Workshop</a:t>
            </a:r>
            <a:endPar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220" name="Textplatzhalter 2">
            <a:extLst>
              <a:ext uri="{FF2B5EF4-FFF2-40B4-BE49-F238E27FC236}">
                <a16:creationId xmlns:a16="http://schemas.microsoft.com/office/drawing/2014/main" id="{1833FF99-8D2D-786C-7715-F944B5256C56}"/>
              </a:ext>
            </a:extLst>
          </p:cNvPr>
          <p:cNvSpPr>
            <a:spLocks noGrp="1"/>
          </p:cNvSpPr>
          <p:nvPr>
            <p:custDataLst>
              <p:tags r:id="rId209"/>
            </p:custDataLst>
          </p:nvPr>
        </p:nvSpPr>
        <p:spPr bwMode="auto">
          <a:xfrm>
            <a:off x="4618038" y="3160713"/>
            <a:ext cx="985838"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b="1">
                <a:solidFill>
                  <a:schemeClr val="bg1">
                    <a:lumMod val="50000"/>
                  </a:schemeClr>
                </a:solidFill>
                <a:effectLst/>
                <a:ea typeface="Lato" panose="020F0502020204030203" pitchFamily="34" charset="0"/>
                <a:cs typeface="Lato" panose="020F0502020204030203" pitchFamily="34" charset="0"/>
              </a:rPr>
              <a:t>Datapoints confirmed</a:t>
            </a:r>
            <a:endPar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204" name="Textplatzhalter 2">
            <a:extLst>
              <a:ext uri="{FF2B5EF4-FFF2-40B4-BE49-F238E27FC236}">
                <a16:creationId xmlns:a16="http://schemas.microsoft.com/office/drawing/2014/main" id="{EDEF86AF-0172-CF69-A7A5-7C3A847A440A}"/>
              </a:ext>
            </a:extLst>
          </p:cNvPr>
          <p:cNvSpPr>
            <a:spLocks noGrp="1"/>
          </p:cNvSpPr>
          <p:nvPr>
            <p:custDataLst>
              <p:tags r:id="rId210"/>
            </p:custDataLst>
          </p:nvPr>
        </p:nvSpPr>
        <p:spPr bwMode="auto">
          <a:xfrm>
            <a:off x="5645150" y="3160713"/>
            <a:ext cx="796925"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ta Sync Design</a:t>
            </a:r>
          </a:p>
        </p:txBody>
      </p:sp>
      <p:sp>
        <p:nvSpPr>
          <p:cNvPr id="215" name="Textplatzhalter 2">
            <a:extLst>
              <a:ext uri="{FF2B5EF4-FFF2-40B4-BE49-F238E27FC236}">
                <a16:creationId xmlns:a16="http://schemas.microsoft.com/office/drawing/2014/main" id="{036710C5-7AFD-D9FD-3415-6C5B5857493D}"/>
              </a:ext>
            </a:extLst>
          </p:cNvPr>
          <p:cNvSpPr>
            <a:spLocks noGrp="1"/>
          </p:cNvSpPr>
          <p:nvPr>
            <p:custDataLst>
              <p:tags r:id="rId211"/>
            </p:custDataLst>
          </p:nvPr>
        </p:nvSpPr>
        <p:spPr bwMode="auto">
          <a:xfrm>
            <a:off x="1766889" y="4457700"/>
            <a:ext cx="1431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rPr>
              <a:t>Integration implementation</a:t>
            </a:r>
          </a:p>
        </p:txBody>
      </p:sp>
      <p:sp>
        <p:nvSpPr>
          <p:cNvPr id="216" name="Text Placeholder 2">
            <a:extLst>
              <a:ext uri="{FF2B5EF4-FFF2-40B4-BE49-F238E27FC236}">
                <a16:creationId xmlns:a16="http://schemas.microsoft.com/office/drawing/2014/main" id="{E8379A6A-EC3B-5D77-DFDC-9CE9117ECF9C}"/>
              </a:ext>
            </a:extLst>
          </p:cNvPr>
          <p:cNvSpPr>
            <a:spLocks noGrp="1"/>
          </p:cNvSpPr>
          <p:nvPr>
            <p:custDataLst>
              <p:tags r:id="rId212"/>
            </p:custDataLst>
          </p:nvPr>
        </p:nvSpPr>
        <p:spPr bwMode="auto">
          <a:xfrm>
            <a:off x="11042650" y="4457700"/>
            <a:ext cx="344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Hy, KP</a:t>
            </a:r>
          </a:p>
        </p:txBody>
      </p:sp>
      <p:sp>
        <p:nvSpPr>
          <p:cNvPr id="196" name="Textplatzhalter 2">
            <a:extLst>
              <a:ext uri="{FF2B5EF4-FFF2-40B4-BE49-F238E27FC236}">
                <a16:creationId xmlns:a16="http://schemas.microsoft.com/office/drawing/2014/main" id="{51C43697-72F2-C1F4-ABE8-F94FC6487388}"/>
              </a:ext>
            </a:extLst>
          </p:cNvPr>
          <p:cNvSpPr>
            <a:spLocks noGrp="1"/>
          </p:cNvSpPr>
          <p:nvPr>
            <p:custDataLst>
              <p:tags r:id="rId213"/>
            </p:custDataLst>
          </p:nvPr>
        </p:nvSpPr>
        <p:spPr bwMode="auto">
          <a:xfrm>
            <a:off x="6483350" y="3160713"/>
            <a:ext cx="1057275" cy="95250"/>
          </a:xfrm>
          <a:prstGeom prst="rect">
            <a:avLst/>
          </a:prstGeom>
          <a:solidFill>
            <a:srgbClr val="DFE5EF"/>
          </a:solidFill>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700" b="1">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ctional Design Sign-off</a:t>
            </a:r>
            <a:endParaRPr lang="en-GB" sz="7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226" name="Textplatzhalter 2">
            <a:extLst>
              <a:ext uri="{FF2B5EF4-FFF2-40B4-BE49-F238E27FC236}">
                <a16:creationId xmlns:a16="http://schemas.microsoft.com/office/drawing/2014/main" id="{45CC8D9F-9AC6-27ED-2F10-FCC808E8F121}"/>
              </a:ext>
            </a:extLst>
          </p:cNvPr>
          <p:cNvSpPr>
            <a:spLocks noGrp="1"/>
          </p:cNvSpPr>
          <p:nvPr>
            <p:custDataLst>
              <p:tags r:id="rId214"/>
            </p:custDataLst>
          </p:nvPr>
        </p:nvSpPr>
        <p:spPr bwMode="auto">
          <a:xfrm>
            <a:off x="8823325" y="4959350"/>
            <a:ext cx="144463"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T</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191" name="Textplatzhalter 2">
            <a:extLst>
              <a:ext uri="{FF2B5EF4-FFF2-40B4-BE49-F238E27FC236}">
                <a16:creationId xmlns:a16="http://schemas.microsoft.com/office/drawing/2014/main" id="{C4C8E55C-E0BA-35C8-2092-6BA71F140229}"/>
              </a:ext>
            </a:extLst>
          </p:cNvPr>
          <p:cNvSpPr>
            <a:spLocks noGrp="1"/>
          </p:cNvSpPr>
          <p:nvPr>
            <p:custDataLst>
              <p:tags r:id="rId215"/>
            </p:custDataLst>
          </p:nvPr>
        </p:nvSpPr>
        <p:spPr bwMode="auto">
          <a:xfrm>
            <a:off x="10479088" y="5314950"/>
            <a:ext cx="468313"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ypercare</a:t>
            </a:r>
            <a:endParaRPr kumimoji="0" lang="en-GB" sz="8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234" name="Textplatzhalter 2">
            <a:extLst>
              <a:ext uri="{FF2B5EF4-FFF2-40B4-BE49-F238E27FC236}">
                <a16:creationId xmlns:a16="http://schemas.microsoft.com/office/drawing/2014/main" id="{C29B1944-A66B-21F3-1F2B-9E24C8589D28}"/>
              </a:ext>
            </a:extLst>
          </p:cNvPr>
          <p:cNvSpPr>
            <a:spLocks noGrp="1"/>
          </p:cNvSpPr>
          <p:nvPr>
            <p:custDataLst>
              <p:tags r:id="rId216"/>
            </p:custDataLst>
          </p:nvPr>
        </p:nvSpPr>
        <p:spPr bwMode="auto">
          <a:xfrm>
            <a:off x="9996488" y="4959350"/>
            <a:ext cx="203200"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a typeface="Lato" panose="020F0502020204030203" pitchFamily="34" charset="0"/>
                <a:cs typeface="Lato" panose="020F0502020204030203" pitchFamily="34" charset="0"/>
              </a:rPr>
              <a:t>UAT</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4" name="Text Placeholder 2">
            <a:extLst>
              <a:ext uri="{FF2B5EF4-FFF2-40B4-BE49-F238E27FC236}">
                <a16:creationId xmlns:a16="http://schemas.microsoft.com/office/drawing/2014/main" id="{F2104CF6-917A-3790-F6A4-8B782ABB8B05}"/>
              </a:ext>
            </a:extLst>
          </p:cNvPr>
          <p:cNvSpPr>
            <a:spLocks noGrp="1"/>
          </p:cNvSpPr>
          <p:nvPr>
            <p:custDataLst>
              <p:tags r:id="rId217"/>
            </p:custDataLst>
          </p:nvPr>
        </p:nvSpPr>
        <p:spPr bwMode="auto">
          <a:xfrm>
            <a:off x="11042650" y="1997075"/>
            <a:ext cx="5429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1"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Responsible</a:t>
            </a:r>
            <a:endParaRPr kumimoji="0" lang="en-US" sz="800" b="1"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endParaRPr>
          </a:p>
        </p:txBody>
      </p:sp>
      <p:sp useBgFill="1">
        <p:nvSpPr>
          <p:cNvPr id="222" name="Textplatzhalter 2">
            <a:extLst>
              <a:ext uri="{FF2B5EF4-FFF2-40B4-BE49-F238E27FC236}">
                <a16:creationId xmlns:a16="http://schemas.microsoft.com/office/drawing/2014/main" id="{4A1C5338-4711-3890-87DE-70F02EB0FC19}"/>
              </a:ext>
            </a:extLst>
          </p:cNvPr>
          <p:cNvSpPr>
            <a:spLocks noGrp="1"/>
          </p:cNvSpPr>
          <p:nvPr>
            <p:custDataLst>
              <p:tags r:id="rId218"/>
            </p:custDataLst>
          </p:nvPr>
        </p:nvSpPr>
        <p:spPr bwMode="auto">
          <a:xfrm>
            <a:off x="9485313" y="4959350"/>
            <a:ext cx="446088" cy="219075"/>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T </a:t>
            </a:r>
            <a:br>
              <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pproved</a:t>
            </a:r>
          </a:p>
        </p:txBody>
      </p:sp>
      <p:sp>
        <p:nvSpPr>
          <p:cNvPr id="190" name="Textplatzhalter 2">
            <a:extLst>
              <a:ext uri="{FF2B5EF4-FFF2-40B4-BE49-F238E27FC236}">
                <a16:creationId xmlns:a16="http://schemas.microsoft.com/office/drawing/2014/main" id="{51FA6609-19DE-1228-FD6B-EE84C0678B7A}"/>
              </a:ext>
            </a:extLst>
          </p:cNvPr>
          <p:cNvSpPr>
            <a:spLocks noGrp="1"/>
          </p:cNvSpPr>
          <p:nvPr>
            <p:custDataLst>
              <p:tags r:id="rId219"/>
            </p:custDataLst>
          </p:nvPr>
        </p:nvSpPr>
        <p:spPr bwMode="auto">
          <a:xfrm>
            <a:off x="1766888" y="5199063"/>
            <a:ext cx="1830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rPr>
              <a:t>Go-live &amp; Continuous Improvement</a:t>
            </a:r>
            <a:endParaRPr kumimoji="0" 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endParaRPr>
          </a:p>
        </p:txBody>
      </p:sp>
      <p:sp useBgFill="1">
        <p:nvSpPr>
          <p:cNvPr id="224" name="Textplatzhalter 2">
            <a:extLst>
              <a:ext uri="{FF2B5EF4-FFF2-40B4-BE49-F238E27FC236}">
                <a16:creationId xmlns:a16="http://schemas.microsoft.com/office/drawing/2014/main" id="{9BD22188-5E0C-6FE8-CB73-C150AD198E64}"/>
              </a:ext>
            </a:extLst>
          </p:cNvPr>
          <p:cNvSpPr>
            <a:spLocks noGrp="1"/>
          </p:cNvSpPr>
          <p:nvPr>
            <p:custDataLst>
              <p:tags r:id="rId220"/>
            </p:custDataLst>
          </p:nvPr>
        </p:nvSpPr>
        <p:spPr bwMode="auto">
          <a:xfrm>
            <a:off x="10252075" y="4959350"/>
            <a:ext cx="268288" cy="219075"/>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800" b="1">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o / </a:t>
            </a:r>
            <a:br>
              <a:rPr lang="en-GB" altLang="en-US" sz="800" b="1">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altLang="en-US" sz="800" b="1" err="1">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Go</a:t>
            </a:r>
            <a:endParaRPr lang="en-GB" sz="8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8" name="Text Placeholder 2">
            <a:extLst>
              <a:ext uri="{FF2B5EF4-FFF2-40B4-BE49-F238E27FC236}">
                <a16:creationId xmlns:a16="http://schemas.microsoft.com/office/drawing/2014/main" id="{97DE0388-736F-CBBC-257B-1FDC16371A7D}"/>
              </a:ext>
            </a:extLst>
          </p:cNvPr>
          <p:cNvSpPr>
            <a:spLocks noGrp="1"/>
          </p:cNvSpPr>
          <p:nvPr>
            <p:custDataLst>
              <p:tags r:id="rId221"/>
            </p:custDataLst>
          </p:nvPr>
        </p:nvSpPr>
        <p:spPr bwMode="auto">
          <a:xfrm>
            <a:off x="11042650" y="5199063"/>
            <a:ext cx="344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Hy, KP</a:t>
            </a:r>
            <a:endPar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endParaRPr>
          </a:p>
        </p:txBody>
      </p:sp>
      <p:sp>
        <p:nvSpPr>
          <p:cNvPr id="183" name="Textplatzhalter 2">
            <a:extLst>
              <a:ext uri="{FF2B5EF4-FFF2-40B4-BE49-F238E27FC236}">
                <a16:creationId xmlns:a16="http://schemas.microsoft.com/office/drawing/2014/main" id="{9A9BAA1F-09D7-8B1E-B1C5-8DEBF668C775}"/>
              </a:ext>
            </a:extLst>
          </p:cNvPr>
          <p:cNvSpPr>
            <a:spLocks noGrp="1"/>
          </p:cNvSpPr>
          <p:nvPr>
            <p:custDataLst>
              <p:tags r:id="rId222"/>
            </p:custDataLst>
          </p:nvPr>
        </p:nvSpPr>
        <p:spPr bwMode="auto">
          <a:xfrm>
            <a:off x="1766888" y="2009775"/>
            <a:ext cx="4238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800" b="1"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Activities</a:t>
            </a:r>
            <a:endParaRPr kumimoji="0" lang="en-US" sz="800" b="1"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endParaRPr>
          </a:p>
        </p:txBody>
      </p:sp>
      <p:sp>
        <p:nvSpPr>
          <p:cNvPr id="228" name="Textplatzhalter 2">
            <a:extLst>
              <a:ext uri="{FF2B5EF4-FFF2-40B4-BE49-F238E27FC236}">
                <a16:creationId xmlns:a16="http://schemas.microsoft.com/office/drawing/2014/main" id="{B102C272-A580-342D-4105-FAE407A51A82}"/>
              </a:ext>
            </a:extLst>
          </p:cNvPr>
          <p:cNvSpPr>
            <a:spLocks noGrp="1"/>
          </p:cNvSpPr>
          <p:nvPr>
            <p:custDataLst>
              <p:tags r:id="rId223"/>
            </p:custDataLst>
          </p:nvPr>
        </p:nvSpPr>
        <p:spPr bwMode="auto">
          <a:xfrm>
            <a:off x="1766889" y="4827588"/>
            <a:ext cx="21050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rPr>
              <a:t>System Integration &amp; Application Testing</a:t>
            </a:r>
            <a:endParaRPr kumimoji="0" lang="en-US" sz="1000" b="0" i="0" u="none" strike="noStrike" kern="1200" cap="none" spc="0" normalizeH="0" baseline="0" noProof="0">
              <a:ln>
                <a:noFill/>
              </a:ln>
              <a:solidFill>
                <a:srgbClr val="000000"/>
              </a:solidFill>
              <a:effectLst/>
              <a:uLnTx/>
              <a:uFillTx/>
              <a:latin typeface="Open Sauce One" panose="00000800000000000000"/>
              <a:sym typeface="Open Sauce One" panose="00000800000000000000"/>
            </a:endParaRPr>
          </a:p>
        </p:txBody>
      </p:sp>
      <p:sp>
        <p:nvSpPr>
          <p:cNvPr id="230" name="Textplatzhalter 2">
            <a:extLst>
              <a:ext uri="{FF2B5EF4-FFF2-40B4-BE49-F238E27FC236}">
                <a16:creationId xmlns:a16="http://schemas.microsoft.com/office/drawing/2014/main" id="{0488A16A-BD63-4D0A-3932-59B1E6A51CEC}"/>
              </a:ext>
            </a:extLst>
          </p:cNvPr>
          <p:cNvSpPr>
            <a:spLocks noGrp="1"/>
          </p:cNvSpPr>
          <p:nvPr>
            <p:custDataLst>
              <p:tags r:id="rId224"/>
            </p:custDataLst>
          </p:nvPr>
        </p:nvSpPr>
        <p:spPr bwMode="auto">
          <a:xfrm>
            <a:off x="3800475" y="2009775"/>
            <a:ext cx="17303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800" b="1"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CW</a:t>
            </a:r>
            <a:endParaRPr kumimoji="0" lang="en-US" sz="800" b="1"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endParaRPr>
          </a:p>
        </p:txBody>
      </p:sp>
      <p:sp>
        <p:nvSpPr>
          <p:cNvPr id="229" name="Text Placeholder 2">
            <a:extLst>
              <a:ext uri="{FF2B5EF4-FFF2-40B4-BE49-F238E27FC236}">
                <a16:creationId xmlns:a16="http://schemas.microsoft.com/office/drawing/2014/main" id="{8C06AF2E-5E77-3F4D-343E-042F5D31917B}"/>
              </a:ext>
            </a:extLst>
          </p:cNvPr>
          <p:cNvSpPr>
            <a:spLocks noGrp="1"/>
          </p:cNvSpPr>
          <p:nvPr>
            <p:custDataLst>
              <p:tags r:id="rId225"/>
            </p:custDataLst>
          </p:nvPr>
        </p:nvSpPr>
        <p:spPr bwMode="auto">
          <a:xfrm>
            <a:off x="11042650" y="4827588"/>
            <a:ext cx="344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Hy, KP</a:t>
            </a:r>
          </a:p>
        </p:txBody>
      </p:sp>
      <p:sp useBgFill="1">
        <p:nvSpPr>
          <p:cNvPr id="185" name="Textplatzhalter 2">
            <a:extLst>
              <a:ext uri="{FF2B5EF4-FFF2-40B4-BE49-F238E27FC236}">
                <a16:creationId xmlns:a16="http://schemas.microsoft.com/office/drawing/2014/main" id="{884C5348-C0BA-0E7E-71BE-DE93859ADEA4}"/>
              </a:ext>
            </a:extLst>
          </p:cNvPr>
          <p:cNvSpPr>
            <a:spLocks noGrp="1"/>
          </p:cNvSpPr>
          <p:nvPr>
            <p:custDataLst>
              <p:tags r:id="rId226"/>
            </p:custDataLst>
          </p:nvPr>
        </p:nvSpPr>
        <p:spPr bwMode="auto">
          <a:xfrm>
            <a:off x="7667625" y="3160713"/>
            <a:ext cx="998538" cy="95250"/>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700" b="1">
                <a:solidFill>
                  <a:schemeClr val="bg1">
                    <a:lumMod val="50000"/>
                  </a:schemeClr>
                </a:solidFill>
                <a:effectLst/>
                <a:ea typeface="Lato" panose="020F0502020204030203" pitchFamily="34" charset="0"/>
                <a:cs typeface="Lato" panose="020F0502020204030203" pitchFamily="34" charset="0"/>
              </a:rPr>
              <a:t>Technical design Sign-off</a:t>
            </a:r>
            <a:endParaRPr lang="en-GB" sz="700" b="1">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06" name="Textplatzhalter 2">
            <a:extLst>
              <a:ext uri="{FF2B5EF4-FFF2-40B4-BE49-F238E27FC236}">
                <a16:creationId xmlns:a16="http://schemas.microsoft.com/office/drawing/2014/main" id="{2B79506E-A8E7-FBD6-A537-ABF52EB1D5F2}"/>
              </a:ext>
            </a:extLst>
          </p:cNvPr>
          <p:cNvSpPr>
            <a:spLocks noGrp="1"/>
          </p:cNvSpPr>
          <p:nvPr>
            <p:custDataLst>
              <p:tags r:id="rId227"/>
            </p:custDataLst>
          </p:nvPr>
        </p:nvSpPr>
        <p:spPr bwMode="auto">
          <a:xfrm>
            <a:off x="5922963" y="5845175"/>
            <a:ext cx="1670050"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ea typeface="Lato" panose="020F0502020204030203" pitchFamily="34" charset="0"/>
                <a:cs typeface="Lato" panose="020F0502020204030203" pitchFamily="34" charset="0"/>
              </a:rPr>
              <a:t>Vacation period / limited availabilities</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6" name="Textplatzhalter 2">
            <a:extLst>
              <a:ext uri="{FF2B5EF4-FFF2-40B4-BE49-F238E27FC236}">
                <a16:creationId xmlns:a16="http://schemas.microsoft.com/office/drawing/2014/main" id="{C02ED413-D73D-078C-C2D9-00BD92DF0B2A}"/>
              </a:ext>
            </a:extLst>
          </p:cNvPr>
          <p:cNvSpPr>
            <a:spLocks noGrp="1"/>
          </p:cNvSpPr>
          <p:nvPr>
            <p:custDataLst>
              <p:tags r:id="rId228"/>
            </p:custDataLst>
          </p:nvPr>
        </p:nvSpPr>
        <p:spPr bwMode="auto">
          <a:xfrm>
            <a:off x="1766888" y="2992438"/>
            <a:ext cx="16637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lang="en-US" sz="1000">
                <a:latin typeface="Open Sauce One" panose="00000800000000000000"/>
                <a:sym typeface="Open Sauce One" panose="00000800000000000000"/>
              </a:rPr>
              <a:t>Assessment</a:t>
            </a:r>
            <a:r>
              <a:rPr lang="en-US" sz="1000" b="0" i="0">
                <a:effectLst/>
                <a:latin typeface="Open Sauce One" panose="00000800000000000000"/>
                <a:ea typeface="Lato" panose="020F0502020204030203" pitchFamily="34" charset="0"/>
                <a:cs typeface="Lato" panose="020F0502020204030203" pitchFamily="34" charset="0"/>
                <a:sym typeface="Open Sauce One" panose="00000800000000000000"/>
              </a:rPr>
              <a:t> &amp; Design of New AP</a:t>
            </a:r>
            <a:br>
              <a:rPr lang="en-US" sz="1000" b="0" i="0">
                <a:effectLst/>
                <a:latin typeface="Open Sauce One" panose="00000800000000000000"/>
                <a:ea typeface="Lato" panose="020F0502020204030203" pitchFamily="34" charset="0"/>
                <a:cs typeface="Lato" panose="020F0502020204030203" pitchFamily="34" charset="0"/>
                <a:sym typeface="Open Sauce One" panose="00000800000000000000"/>
              </a:rPr>
            </a:br>
            <a:r>
              <a:rPr lang="en-US" sz="1000" b="0" i="0">
                <a:effectLst/>
                <a:latin typeface="Open Sauce One" panose="00000800000000000000"/>
                <a:ea typeface="Lato" panose="020F0502020204030203" pitchFamily="34" charset="0"/>
                <a:cs typeface="Lato" panose="020F0502020204030203" pitchFamily="34" charset="0"/>
                <a:sym typeface="Open Sauce One" panose="00000800000000000000"/>
              </a:rPr>
              <a:t> Process</a:t>
            </a:r>
            <a:endParaRPr kumimoji="0" lang="en-US" sz="1000" b="0" i="0" u="none" strike="noStrike" kern="1200" cap="none" spc="0" normalizeH="0" baseline="0" noProof="0">
              <a:ln>
                <a:noFill/>
              </a:ln>
              <a:effectLst/>
              <a:uLnTx/>
              <a:uFillTx/>
              <a:latin typeface="Open Sauce One" panose="00000800000000000000"/>
              <a:ea typeface="Lato" panose="020F0502020204030203" pitchFamily="34" charset="0"/>
              <a:cs typeface="Lato" panose="020F0502020204030203" pitchFamily="34" charset="0"/>
              <a:sym typeface="Open Sauce One" panose="00000800000000000000"/>
            </a:endParaRPr>
          </a:p>
        </p:txBody>
      </p:sp>
      <p:sp>
        <p:nvSpPr>
          <p:cNvPr id="187" name="Text Placeholder 2">
            <a:extLst>
              <a:ext uri="{FF2B5EF4-FFF2-40B4-BE49-F238E27FC236}">
                <a16:creationId xmlns:a16="http://schemas.microsoft.com/office/drawing/2014/main" id="{D21FB80C-5AD7-9078-4926-B81CDC480187}"/>
              </a:ext>
            </a:extLst>
          </p:cNvPr>
          <p:cNvSpPr>
            <a:spLocks noGrp="1"/>
          </p:cNvSpPr>
          <p:nvPr>
            <p:custDataLst>
              <p:tags r:id="rId229"/>
            </p:custDataLst>
          </p:nvPr>
        </p:nvSpPr>
        <p:spPr bwMode="auto">
          <a:xfrm>
            <a:off x="11042650" y="2992438"/>
            <a:ext cx="344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sym typeface="Lato" panose="020F0502020204030203" pitchFamily="34" charset="0"/>
              </a:rPr>
              <a:t>Hy, KP</a:t>
            </a:r>
          </a:p>
        </p:txBody>
      </p:sp>
      <p:sp>
        <p:nvSpPr>
          <p:cNvPr id="207" name="Textplatzhalter 2">
            <a:extLst>
              <a:ext uri="{FF2B5EF4-FFF2-40B4-BE49-F238E27FC236}">
                <a16:creationId xmlns:a16="http://schemas.microsoft.com/office/drawing/2014/main" id="{3097D361-17F4-7D66-C491-B7628D2B1622}"/>
              </a:ext>
            </a:extLst>
          </p:cNvPr>
          <p:cNvSpPr>
            <a:spLocks noGrp="1"/>
          </p:cNvSpPr>
          <p:nvPr>
            <p:custDataLst>
              <p:tags r:id="rId230"/>
            </p:custDataLst>
          </p:nvPr>
        </p:nvSpPr>
        <p:spPr bwMode="auto">
          <a:xfrm>
            <a:off x="6791325" y="6188075"/>
            <a:ext cx="1497013" cy="1095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ementation Phase (8 months)</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useBgFill="1">
        <p:nvSpPr>
          <p:cNvPr id="189" name="Textplatzhalter 2">
            <a:extLst>
              <a:ext uri="{FF2B5EF4-FFF2-40B4-BE49-F238E27FC236}">
                <a16:creationId xmlns:a16="http://schemas.microsoft.com/office/drawing/2014/main" id="{035EB6C1-6AB4-1702-B7AF-330E6F55C49B}"/>
              </a:ext>
            </a:extLst>
          </p:cNvPr>
          <p:cNvSpPr>
            <a:spLocks noGrp="1"/>
          </p:cNvSpPr>
          <p:nvPr>
            <p:custDataLst>
              <p:tags r:id="rId231"/>
            </p:custDataLst>
          </p:nvPr>
        </p:nvSpPr>
        <p:spPr bwMode="auto">
          <a:xfrm>
            <a:off x="4338638" y="3616325"/>
            <a:ext cx="976313" cy="10953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800">
                <a:solidFill>
                  <a:schemeClr val="bg1">
                    <a:lumMod val="50000"/>
                  </a:schemeClr>
                </a:solidFill>
                <a:effectLst/>
                <a:ea typeface="Lato" panose="020F0502020204030203" pitchFamily="34" charset="0"/>
                <a:cs typeface="Lato" panose="020F0502020204030203" pitchFamily="34" charset="0"/>
              </a:rPr>
              <a:t>Images + Posting data</a:t>
            </a:r>
            <a:endPar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5" name="TextBox 48">
            <a:extLst>
              <a:ext uri="{FF2B5EF4-FFF2-40B4-BE49-F238E27FC236}">
                <a16:creationId xmlns:a16="http://schemas.microsoft.com/office/drawing/2014/main" id="{5E438BEC-4BD3-A418-3F88-12449881EAC5}"/>
              </a:ext>
            </a:extLst>
          </p:cNvPr>
          <p:cNvSpPr txBox="1"/>
          <p:nvPr/>
        </p:nvSpPr>
        <p:spPr>
          <a:xfrm>
            <a:off x="457200" y="3379788"/>
            <a:ext cx="1156951" cy="666750"/>
          </a:xfrm>
          <a:prstGeom prst="rect">
            <a:avLst/>
          </a:prstGeom>
        </p:spPr>
        <p:txBody>
          <a:bodyPr vert="horz" wrap="square"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
                <a:srgbClr val="FE702E"/>
              </a:buClr>
              <a:buSzTx/>
              <a:buFontTx/>
              <a:buNone/>
              <a:tabLst/>
              <a:defRPr/>
            </a:pPr>
            <a:r>
              <a:rPr kumimoji="0" lang="en-US" sz="1000" b="1" i="0" u="none" strike="noStrike" kern="1200" cap="none" spc="0" normalizeH="0" baseline="0" noProof="0">
                <a:ln>
                  <a:noFill/>
                </a:ln>
                <a:effectLst/>
                <a:uLnTx/>
                <a:uFillTx/>
                <a:latin typeface="Open Sauce One" panose="00000800000000000000"/>
              </a:rPr>
              <a:t>Configure AI</a:t>
            </a:r>
            <a:endParaRPr kumimoji="0" lang="en-US" sz="1000" b="0" i="0" u="none" strike="noStrike" kern="1200" cap="none" spc="0" normalizeH="0" baseline="0" noProof="0">
              <a:ln>
                <a:noFill/>
              </a:ln>
              <a:effectLst/>
              <a:uLnTx/>
              <a:uFillTx/>
              <a:latin typeface="Open Sauce One" panose="00000800000000000000"/>
            </a:endParaRPr>
          </a:p>
        </p:txBody>
      </p:sp>
      <p:sp>
        <p:nvSpPr>
          <p:cNvPr id="236" name="TextBox 48">
            <a:extLst>
              <a:ext uri="{FF2B5EF4-FFF2-40B4-BE49-F238E27FC236}">
                <a16:creationId xmlns:a16="http://schemas.microsoft.com/office/drawing/2014/main" id="{9131EAC4-935E-B23B-E718-ADCC2EA6EA52}"/>
              </a:ext>
            </a:extLst>
          </p:cNvPr>
          <p:cNvSpPr txBox="1"/>
          <p:nvPr/>
        </p:nvSpPr>
        <p:spPr>
          <a:xfrm>
            <a:off x="461849" y="4053379"/>
            <a:ext cx="1156755" cy="653299"/>
          </a:xfrm>
          <a:prstGeom prst="rect">
            <a:avLst/>
          </a:prstGeom>
        </p:spPr>
        <p:txBody>
          <a:bodyPr vert="horz" wrap="square"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
                <a:srgbClr val="FE702E"/>
              </a:buClr>
              <a:buSzTx/>
              <a:buFontTx/>
              <a:buNone/>
              <a:tabLst/>
              <a:defRPr/>
            </a:pPr>
            <a:r>
              <a:rPr kumimoji="0" lang="en-US" sz="1000" b="1" i="0" u="none" strike="noStrike" kern="1200" cap="none" spc="0" normalizeH="0" baseline="0" noProof="0">
                <a:ln>
                  <a:noFill/>
                </a:ln>
                <a:effectLst/>
                <a:uLnTx/>
                <a:uFillTx/>
                <a:latin typeface="Open Sauce One" panose="00000800000000000000"/>
              </a:rPr>
              <a:t>Configure Studio</a:t>
            </a:r>
            <a:endParaRPr kumimoji="0" lang="en-US" sz="1000" b="0" i="0" u="none" strike="noStrike" kern="1200" cap="none" spc="0" normalizeH="0" baseline="0" noProof="0">
              <a:ln>
                <a:noFill/>
              </a:ln>
              <a:effectLst/>
              <a:uLnTx/>
              <a:uFillTx/>
              <a:latin typeface="Open Sauce One" panose="00000800000000000000"/>
            </a:endParaRPr>
          </a:p>
        </p:txBody>
      </p:sp>
      <p:sp>
        <p:nvSpPr>
          <p:cNvPr id="237" name="TextBox 48">
            <a:extLst>
              <a:ext uri="{FF2B5EF4-FFF2-40B4-BE49-F238E27FC236}">
                <a16:creationId xmlns:a16="http://schemas.microsoft.com/office/drawing/2014/main" id="{DEA4C876-002D-4C51-7155-8C41C7B2B5D2}"/>
              </a:ext>
            </a:extLst>
          </p:cNvPr>
          <p:cNvSpPr txBox="1"/>
          <p:nvPr/>
        </p:nvSpPr>
        <p:spPr>
          <a:xfrm>
            <a:off x="457200" y="5085381"/>
            <a:ext cx="1208470" cy="367682"/>
          </a:xfrm>
          <a:prstGeom prst="rect">
            <a:avLst/>
          </a:prstGeom>
        </p:spPr>
        <p:txBody>
          <a:bodyPr vert="horz" wrap="square"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
                <a:srgbClr val="FE702E"/>
              </a:buClr>
              <a:buSzTx/>
              <a:buFontTx/>
              <a:buNone/>
              <a:tabLst/>
              <a:defRPr/>
            </a:pPr>
            <a:r>
              <a:rPr kumimoji="0" lang="en-US" sz="1000" b="1" i="0" u="none" strike="noStrike" kern="1200" cap="none" spc="0" normalizeH="0" baseline="0" noProof="0">
                <a:ln>
                  <a:noFill/>
                </a:ln>
                <a:effectLst/>
                <a:uLnTx/>
                <a:uFillTx/>
                <a:latin typeface="Open Sauce One" panose="00000800000000000000"/>
              </a:rPr>
              <a:t>Deploy &amp; Roll-out</a:t>
            </a:r>
            <a:endParaRPr kumimoji="0" lang="en-US" sz="1000" b="0" i="0" u="none" strike="noStrike" kern="1200" cap="none" spc="0" normalizeH="0" baseline="0" noProof="0">
              <a:ln>
                <a:noFill/>
              </a:ln>
              <a:effectLst/>
              <a:uLnTx/>
              <a:uFillTx/>
              <a:latin typeface="Open Sauce One" panose="00000800000000000000"/>
            </a:endParaRPr>
          </a:p>
        </p:txBody>
      </p:sp>
      <p:sp>
        <p:nvSpPr>
          <p:cNvPr id="238" name="TextBox 48">
            <a:extLst>
              <a:ext uri="{FF2B5EF4-FFF2-40B4-BE49-F238E27FC236}">
                <a16:creationId xmlns:a16="http://schemas.microsoft.com/office/drawing/2014/main" id="{7E18CEDC-908C-96BB-B185-1C4D431E6091}"/>
              </a:ext>
            </a:extLst>
          </p:cNvPr>
          <p:cNvSpPr txBox="1"/>
          <p:nvPr/>
        </p:nvSpPr>
        <p:spPr>
          <a:xfrm>
            <a:off x="463012" y="2873544"/>
            <a:ext cx="1083214" cy="513200"/>
          </a:xfrm>
          <a:prstGeom prst="rect">
            <a:avLst/>
          </a:prstGeom>
        </p:spPr>
        <p:txBody>
          <a:bodyPr vert="horz" wrap="square"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
                <a:srgbClr val="FE702E"/>
              </a:buClr>
              <a:buSzTx/>
              <a:buFontTx/>
              <a:buNone/>
              <a:tabLst/>
              <a:defRPr/>
            </a:pPr>
            <a:r>
              <a:rPr kumimoji="0" lang="en-US" sz="1000" b="1" i="0" u="none" strike="noStrike" kern="1200" cap="none" spc="0" normalizeH="0" baseline="0" noProof="0">
                <a:ln>
                  <a:noFill/>
                </a:ln>
                <a:effectLst/>
                <a:uLnTx/>
                <a:uFillTx/>
                <a:latin typeface="Open Sauce One" panose="00000800000000000000"/>
              </a:rPr>
              <a:t>Design</a:t>
            </a:r>
          </a:p>
        </p:txBody>
      </p:sp>
      <p:sp>
        <p:nvSpPr>
          <p:cNvPr id="251" name="TextBox 48">
            <a:extLst>
              <a:ext uri="{FF2B5EF4-FFF2-40B4-BE49-F238E27FC236}">
                <a16:creationId xmlns:a16="http://schemas.microsoft.com/office/drawing/2014/main" id="{B3D6CAEB-6ED9-788B-6FA2-01A7425EDDBD}"/>
              </a:ext>
            </a:extLst>
          </p:cNvPr>
          <p:cNvSpPr txBox="1"/>
          <p:nvPr/>
        </p:nvSpPr>
        <p:spPr>
          <a:xfrm>
            <a:off x="457200" y="2510310"/>
            <a:ext cx="1083214" cy="354223"/>
          </a:xfrm>
          <a:prstGeom prst="rect">
            <a:avLst/>
          </a:prstGeom>
        </p:spPr>
        <p:txBody>
          <a:bodyPr vert="horz" wrap="square"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
                <a:srgbClr val="FE702E"/>
              </a:buClr>
              <a:buSzTx/>
              <a:buFontTx/>
              <a:buNone/>
              <a:tabLst/>
              <a:defRPr/>
            </a:pPr>
            <a:r>
              <a:rPr kumimoji="0" lang="en-US" sz="1000" b="1" i="0" u="none" strike="noStrike" kern="1200" cap="none" spc="0" normalizeH="0" baseline="0" noProof="0">
                <a:ln>
                  <a:noFill/>
                </a:ln>
                <a:effectLst/>
                <a:uLnTx/>
                <a:uFillTx/>
                <a:latin typeface="Open Sauce One" panose="00000800000000000000"/>
              </a:rPr>
              <a:t>Mobilize</a:t>
            </a:r>
          </a:p>
        </p:txBody>
      </p:sp>
      <p:sp>
        <p:nvSpPr>
          <p:cNvPr id="252" name="TextBox 48">
            <a:extLst>
              <a:ext uri="{FF2B5EF4-FFF2-40B4-BE49-F238E27FC236}">
                <a16:creationId xmlns:a16="http://schemas.microsoft.com/office/drawing/2014/main" id="{2171171C-BB55-B20E-8D3F-9FB11697DC08}"/>
              </a:ext>
            </a:extLst>
          </p:cNvPr>
          <p:cNvSpPr txBox="1"/>
          <p:nvPr/>
        </p:nvSpPr>
        <p:spPr>
          <a:xfrm>
            <a:off x="457200" y="4706678"/>
            <a:ext cx="1156951" cy="369692"/>
          </a:xfrm>
          <a:prstGeom prst="rect">
            <a:avLst/>
          </a:prstGeom>
        </p:spPr>
        <p:txBody>
          <a:bodyPr vert="horz" wrap="square"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
                <a:srgbClr val="FE702E"/>
              </a:buClr>
              <a:buSzTx/>
              <a:buFontTx/>
              <a:buNone/>
              <a:tabLst/>
              <a:defRPr/>
            </a:pPr>
            <a:r>
              <a:rPr kumimoji="0" lang="en-US" sz="1000" b="1" i="0" u="none" strike="noStrike" kern="1200" cap="none" spc="0" normalizeH="0" baseline="0" noProof="0">
                <a:ln>
                  <a:noFill/>
                </a:ln>
                <a:effectLst/>
                <a:uLnTx/>
                <a:uFillTx/>
                <a:latin typeface="Open Sauce One" panose="00000800000000000000"/>
              </a:rPr>
              <a:t>Validate</a:t>
            </a:r>
            <a:endParaRPr kumimoji="0" lang="en-US" sz="1000" b="0" i="0" u="none" strike="noStrike" kern="1200" cap="none" spc="0" normalizeH="0" baseline="0" noProof="0">
              <a:ln>
                <a:noFill/>
              </a:ln>
              <a:effectLst/>
              <a:uLnTx/>
              <a:uFillTx/>
              <a:latin typeface="Open Sauce One" panose="00000800000000000000"/>
            </a:endParaRPr>
          </a:p>
        </p:txBody>
      </p:sp>
      <p:sp>
        <p:nvSpPr>
          <p:cNvPr id="253" name="TextBox 48">
            <a:extLst>
              <a:ext uri="{FF2B5EF4-FFF2-40B4-BE49-F238E27FC236}">
                <a16:creationId xmlns:a16="http://schemas.microsoft.com/office/drawing/2014/main" id="{12816B29-CB98-76E2-107F-A1BD7A060483}"/>
              </a:ext>
            </a:extLst>
          </p:cNvPr>
          <p:cNvSpPr txBox="1"/>
          <p:nvPr/>
        </p:nvSpPr>
        <p:spPr>
          <a:xfrm>
            <a:off x="457200" y="2140618"/>
            <a:ext cx="1083214" cy="378122"/>
          </a:xfrm>
          <a:prstGeom prst="rect">
            <a:avLst/>
          </a:prstGeom>
        </p:spPr>
        <p:txBody>
          <a:bodyPr vert="horz" wrap="square"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
                <a:srgbClr val="FE702E"/>
              </a:buClr>
              <a:buSzTx/>
              <a:buFontTx/>
              <a:buNone/>
              <a:tabLst/>
              <a:defRPr/>
            </a:pPr>
            <a:r>
              <a:rPr kumimoji="0" lang="en-US" sz="1000" b="1" i="0" u="none" strike="noStrike" kern="1200" cap="none" spc="0" normalizeH="0" baseline="0" noProof="0">
                <a:ln>
                  <a:noFill/>
                </a:ln>
                <a:effectLst/>
                <a:uLnTx/>
                <a:uFillTx/>
                <a:latin typeface="Open Sauce One" panose="00000800000000000000"/>
              </a:rPr>
              <a:t>Meet &amp; Review</a:t>
            </a:r>
          </a:p>
        </p:txBody>
      </p:sp>
      <p:sp>
        <p:nvSpPr>
          <p:cNvPr id="268" name="Oval 267">
            <a:extLst>
              <a:ext uri="{FF2B5EF4-FFF2-40B4-BE49-F238E27FC236}">
                <a16:creationId xmlns:a16="http://schemas.microsoft.com/office/drawing/2014/main" id="{1F9821D8-1457-4261-04D3-F0F241577D8C}"/>
              </a:ext>
            </a:extLst>
          </p:cNvPr>
          <p:cNvSpPr/>
          <p:nvPr/>
        </p:nvSpPr>
        <p:spPr>
          <a:xfrm>
            <a:off x="589871" y="5645400"/>
            <a:ext cx="87318" cy="87318"/>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Open Sauce One" panose="00000800000000000000"/>
            </a:endParaRPr>
          </a:p>
        </p:txBody>
      </p:sp>
      <p:sp>
        <p:nvSpPr>
          <p:cNvPr id="269" name="TextBox 268">
            <a:extLst>
              <a:ext uri="{FF2B5EF4-FFF2-40B4-BE49-F238E27FC236}">
                <a16:creationId xmlns:a16="http://schemas.microsoft.com/office/drawing/2014/main" id="{D5DAC934-530E-927F-F028-6A1A311501A1}"/>
              </a:ext>
            </a:extLst>
          </p:cNvPr>
          <p:cNvSpPr txBox="1"/>
          <p:nvPr/>
        </p:nvSpPr>
        <p:spPr>
          <a:xfrm>
            <a:off x="648032" y="5581337"/>
            <a:ext cx="90485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effectLst/>
                <a:uLnTx/>
                <a:uFillTx/>
                <a:latin typeface="Open Sauce One" panose="00000800000000000000"/>
              </a:rPr>
              <a:t>Sprint Review</a:t>
            </a:r>
          </a:p>
        </p:txBody>
      </p:sp>
      <p:sp>
        <p:nvSpPr>
          <p:cNvPr id="270" name="Rectangle 269">
            <a:extLst>
              <a:ext uri="{FF2B5EF4-FFF2-40B4-BE49-F238E27FC236}">
                <a16:creationId xmlns:a16="http://schemas.microsoft.com/office/drawing/2014/main" id="{AE58B650-B18C-5237-1F84-5861D4B0C189}"/>
              </a:ext>
            </a:extLst>
          </p:cNvPr>
          <p:cNvSpPr/>
          <p:nvPr/>
        </p:nvSpPr>
        <p:spPr>
          <a:xfrm rot="2746554">
            <a:off x="592141" y="5976446"/>
            <a:ext cx="82778" cy="827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Open Sauce One" panose="00000800000000000000"/>
            </a:endParaRPr>
          </a:p>
        </p:txBody>
      </p:sp>
      <p:sp>
        <p:nvSpPr>
          <p:cNvPr id="271" name="TextBox 270">
            <a:extLst>
              <a:ext uri="{FF2B5EF4-FFF2-40B4-BE49-F238E27FC236}">
                <a16:creationId xmlns:a16="http://schemas.microsoft.com/office/drawing/2014/main" id="{326E7FF3-A65C-90B8-3712-B0CDF372E713}"/>
              </a:ext>
            </a:extLst>
          </p:cNvPr>
          <p:cNvSpPr txBox="1"/>
          <p:nvPr/>
        </p:nvSpPr>
        <p:spPr>
          <a:xfrm>
            <a:off x="648032" y="5897413"/>
            <a:ext cx="12366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effectLst/>
                <a:uLnTx/>
                <a:uFillTx/>
                <a:latin typeface="Open Sauce One" panose="00000800000000000000"/>
              </a:rPr>
              <a:t>KP Deliverable</a:t>
            </a:r>
          </a:p>
        </p:txBody>
      </p:sp>
      <p:sp>
        <p:nvSpPr>
          <p:cNvPr id="272" name="Rectangle 271">
            <a:extLst>
              <a:ext uri="{FF2B5EF4-FFF2-40B4-BE49-F238E27FC236}">
                <a16:creationId xmlns:a16="http://schemas.microsoft.com/office/drawing/2014/main" id="{9122A9EB-2F97-8F7A-CDD4-A2712600665B}"/>
              </a:ext>
            </a:extLst>
          </p:cNvPr>
          <p:cNvSpPr/>
          <p:nvPr/>
        </p:nvSpPr>
        <p:spPr>
          <a:xfrm rot="2746554">
            <a:off x="592141" y="6136837"/>
            <a:ext cx="82778" cy="827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Open Sauce One" panose="00000800000000000000"/>
            </a:endParaRPr>
          </a:p>
        </p:txBody>
      </p:sp>
      <p:sp>
        <p:nvSpPr>
          <p:cNvPr id="273" name="TextBox 272">
            <a:extLst>
              <a:ext uri="{FF2B5EF4-FFF2-40B4-BE49-F238E27FC236}">
                <a16:creationId xmlns:a16="http://schemas.microsoft.com/office/drawing/2014/main" id="{3CD45D32-2EE8-89D1-7C5F-F109AE4972DE}"/>
              </a:ext>
            </a:extLst>
          </p:cNvPr>
          <p:cNvSpPr txBox="1"/>
          <p:nvPr/>
        </p:nvSpPr>
        <p:spPr>
          <a:xfrm>
            <a:off x="648032" y="6070504"/>
            <a:ext cx="14290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effectLst/>
                <a:uLnTx/>
                <a:uFillTx/>
                <a:latin typeface="Open Sauce One" panose="00000800000000000000"/>
              </a:rPr>
              <a:t>Hypatos Deliverable</a:t>
            </a:r>
          </a:p>
        </p:txBody>
      </p:sp>
      <p:sp>
        <p:nvSpPr>
          <p:cNvPr id="274" name="Isosceles Triangle 273">
            <a:extLst>
              <a:ext uri="{FF2B5EF4-FFF2-40B4-BE49-F238E27FC236}">
                <a16:creationId xmlns:a16="http://schemas.microsoft.com/office/drawing/2014/main" id="{BDB44C31-B0EF-D857-54D5-BC3D0EC75299}"/>
              </a:ext>
            </a:extLst>
          </p:cNvPr>
          <p:cNvSpPr/>
          <p:nvPr/>
        </p:nvSpPr>
        <p:spPr>
          <a:xfrm>
            <a:off x="584607" y="5800528"/>
            <a:ext cx="97846" cy="9784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Open Sauce One" panose="00000800000000000000"/>
            </a:endParaRPr>
          </a:p>
        </p:txBody>
      </p:sp>
      <p:sp>
        <p:nvSpPr>
          <p:cNvPr id="275" name="TextBox 274">
            <a:extLst>
              <a:ext uri="{FF2B5EF4-FFF2-40B4-BE49-F238E27FC236}">
                <a16:creationId xmlns:a16="http://schemas.microsoft.com/office/drawing/2014/main" id="{23BA334F-6963-5040-4C6E-E2C868DA01F3}"/>
              </a:ext>
            </a:extLst>
          </p:cNvPr>
          <p:cNvSpPr txBox="1"/>
          <p:nvPr/>
        </p:nvSpPr>
        <p:spPr>
          <a:xfrm>
            <a:off x="648032" y="5741729"/>
            <a:ext cx="109885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effectLst/>
                <a:uLnTx/>
                <a:uFillTx/>
                <a:latin typeface="Open Sauce One" panose="00000800000000000000"/>
              </a:rPr>
              <a:t>PI Planning</a:t>
            </a:r>
          </a:p>
        </p:txBody>
      </p:sp>
      <p:sp>
        <p:nvSpPr>
          <p:cNvPr id="276" name="Rectangle 275">
            <a:extLst>
              <a:ext uri="{FF2B5EF4-FFF2-40B4-BE49-F238E27FC236}">
                <a16:creationId xmlns:a16="http://schemas.microsoft.com/office/drawing/2014/main" id="{EF1BF7E6-A145-ACBB-282F-66C4BC2AE3D2}"/>
              </a:ext>
            </a:extLst>
          </p:cNvPr>
          <p:cNvSpPr/>
          <p:nvPr/>
        </p:nvSpPr>
        <p:spPr>
          <a:xfrm>
            <a:off x="1782154" y="5644666"/>
            <a:ext cx="216776" cy="754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Open Sauce One" panose="00000800000000000000"/>
            </a:endParaRPr>
          </a:p>
        </p:txBody>
      </p:sp>
      <p:sp>
        <p:nvSpPr>
          <p:cNvPr id="277" name="Rectangle 276">
            <a:extLst>
              <a:ext uri="{FF2B5EF4-FFF2-40B4-BE49-F238E27FC236}">
                <a16:creationId xmlns:a16="http://schemas.microsoft.com/office/drawing/2014/main" id="{B8EDED8A-E8BE-9A6E-9D53-C15B52DA32B9}"/>
              </a:ext>
            </a:extLst>
          </p:cNvPr>
          <p:cNvSpPr/>
          <p:nvPr/>
        </p:nvSpPr>
        <p:spPr>
          <a:xfrm>
            <a:off x="1785766" y="5822626"/>
            <a:ext cx="216776" cy="7541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Open Sauce One" panose="00000800000000000000"/>
            </a:endParaRPr>
          </a:p>
        </p:txBody>
      </p:sp>
      <p:sp>
        <p:nvSpPr>
          <p:cNvPr id="278" name="TextBox 277">
            <a:extLst>
              <a:ext uri="{FF2B5EF4-FFF2-40B4-BE49-F238E27FC236}">
                <a16:creationId xmlns:a16="http://schemas.microsoft.com/office/drawing/2014/main" id="{0FB176DC-12E3-0CD3-B111-E8B4A711414D}"/>
              </a:ext>
            </a:extLst>
          </p:cNvPr>
          <p:cNvSpPr txBox="1"/>
          <p:nvPr/>
        </p:nvSpPr>
        <p:spPr>
          <a:xfrm>
            <a:off x="1961532" y="5581337"/>
            <a:ext cx="11648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effectLst/>
                <a:uLnTx/>
                <a:uFillTx/>
                <a:latin typeface="Open Sauce One" panose="00000800000000000000"/>
              </a:rPr>
              <a:t>Agile Sprints</a:t>
            </a:r>
          </a:p>
        </p:txBody>
      </p:sp>
      <p:sp>
        <p:nvSpPr>
          <p:cNvPr id="279" name="TextBox 278">
            <a:extLst>
              <a:ext uri="{FF2B5EF4-FFF2-40B4-BE49-F238E27FC236}">
                <a16:creationId xmlns:a16="http://schemas.microsoft.com/office/drawing/2014/main" id="{008AA39E-EB55-E175-FFA1-C0400F7981C6}"/>
              </a:ext>
            </a:extLst>
          </p:cNvPr>
          <p:cNvSpPr txBox="1"/>
          <p:nvPr/>
        </p:nvSpPr>
        <p:spPr>
          <a:xfrm>
            <a:off x="1961532" y="5741729"/>
            <a:ext cx="109885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effectLst/>
                <a:uLnTx/>
                <a:uFillTx/>
                <a:latin typeface="Open Sauce One" panose="00000800000000000000"/>
              </a:rPr>
              <a:t>Waterfall</a:t>
            </a:r>
          </a:p>
        </p:txBody>
      </p:sp>
    </p:spTree>
    <p:extLst>
      <p:ext uri="{BB962C8B-B14F-4D97-AF65-F5344CB8AC3E}">
        <p14:creationId xmlns:p14="http://schemas.microsoft.com/office/powerpoint/2010/main" val="1153576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8pzzGVDPsTfBO0rw.Eb3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padgA_.O3dq2K4CQacPv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XoNrr7WlYfgxqKtyq_I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t9_5Eh4MlyPZDMgUh4LU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ogAgRcCVYzC2EaoGEeG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3c5IAygRCRHgkkNSdgY61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KkkGPgMhShbcS7ygmrUX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sDiaw0aX_tkHvhzjhaOk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mvEYdHAhGSnK6eXMdrmo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Ux1tB4Fcdbipc0Rdta3z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NE.4lncKEQ1d_pSbpZZ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vnnjvFehNwl6n9JeTly8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Ak5GNFsZdKrubywTEvVb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8DVzdiJNb.Q1w.BF0lmf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1RYUBvAKO6HjWlkBH5gp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_kd5nL4IpvQIxhUJcVgs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Qxiu.bUhH59ETTP29n.m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B3rp2o_ZkurPjiwM8w67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qq.i2WLSdihn.w566obz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ahoIW05Vo1KTbUqrV4q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LSadIQSj8A3Vk4T2iEM.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qraRTJ46gyZkmHPTHVG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d_byGVBt2IGeyQIq06js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aARiCh6mWFbX.64vmdO2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anamIos2vDqesrnco8nX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QM5EFWGoN83yC_38iM5M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ecWQzatZFJKVbACiqB3W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86ThKt4DQyYd83EUyy8yg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M0hsHAHiDwT7vGWqBGhp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lmCej50xXGN00c0lgJi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XhDoof52HO3y39Ot1533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y7Cl.h8isptTCMuJXg5Q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OsvyrBBcf850NJsguMxG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a6pWM.O8x7yuKGAcadEk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cX88arQnN28ajFtsdiK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9E51asQXsQRvL2oFduW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eQedRNHHNdo9PLjrXb.e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kfeHdm2wT43dQRqLpir2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9qfwZ.cpCpeKdK7ZWKev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Z.hoaMByylAfzrogVJx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xekt7wQvsh5WjKt2qjnv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7HXzUP.2dcbybEAutK9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2H8T1LGGRHmcZaniydcp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7.SA1Eb57Oin5VmvyzvQ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3efd03fXThs.yrVKTnJBS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xx0.ndkclR1ctHLTxuAB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3KvIdGPSGp0Q_HxGh6rx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LlnSferoQEy8piEXogYX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uQk7iX2dGiQOkejFqlQr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Z_LekLWH9Ch2ebSRmMZf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5YQa1ApkVAjh4ogMxF1d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LiJJjQL.ud.DYVBc.qAT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dIP_qzn8w06g7ax_X4Z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4bOEXL3.JG6yBeOVlnAn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T6BEv2DpAGl5mqs6acQU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GNrd3B5MkL1lSfOD2uv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_zYhLZ0U7P7ubGfUpUdWy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Nau6MdU6aSUzPyvHmUejc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GwP1RTUD7uZIH_y_swj9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KudsiXM6FkFb.cq3KyUF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_a8d47YgkbqDBaon2RNr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3ISlZlK4xy6wN5r.7PUO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gjwzCeP0eWrXGYB.v4kq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db3aieowrwKyu.kWfUi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nT0ZRfi8tZMHDCh5qdzh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pijTKZWb0GkX3M766fti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ASRuAfzwbvO2eA5uwXnD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iM3qyhwNvd2ryPq7IAP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vYi_3aj2zjLfZH84z9V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qSucCXwCL984H4BWHsqv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M8SlYKvMkybEnPTIzK_7q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m9ja_XGEvm7IPg785Lo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xr3kx4RYhNUPQSGF2Xfe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3hbK28DGPntIMdpNl0A8b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t_r80IEwTqi92aGe2LM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q5oqJv1nfpj4rq3BiZAh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oeytT9uHKCZoJwgjcG2b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aMgZLtT1J.rAjmgMRXk8N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b91lU.3KLtMSy_5jWaTz8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MPf.XxZ2jRpS6zRU0RS_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cPvE87Z9eMFVbY0P3Szpr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kjiVdnKpGry899qmnQLQ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UDQ7cmq3n7kkzO67QyZ5k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lG3i7dnV0e4HPBoYM6Ss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a6nALX6aG8B2You4IdJt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Xq5twzxxJEn6fzA6e1W9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kMIZ08ziKx3OoVMR9Bnf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0L3UAXJG2PwQSJXSPCHT2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VOmo.xe02g3lnUTTcOOe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bXYflbNfIsmdaV87FUHj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_w4HTCR6.RVTsubsT805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YzJMypDkyFNrK2MgvXnY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klu0.29HzTiQmuvYmnNA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ofs2ewu0lH4DXPEjlRg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QdAWuWAq9eQ.usN68VWU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lT0PJ6N2QhaAytXqJohH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ysYfUIyG0yPcg.gw5a7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mWeN.wdv8PF9AroFf.dZ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vuoHgJcnk.AQpJio3oyq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fe7YSU_CHIjoq7wwaRPA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J94sMyDZu6zyeSAZky4e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TPk91b.LkKYEtjY9aH1k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2gHiEVd8AQ7Alsfo0Kvip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_3v744AO48IcJ_jDmOziP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KvL4BKk3k1eQKLXXS64o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2hsGuug6_IHNQU8OWPKSc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3_3VY_TUTZpzscxIHdbf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5.c6CiI_E2TZGfCxDq5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t5ih6LNiByF30CmxrC52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6jBXNhmdbVBVCmkG1vhVQ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trEkH0QconvPUQ.WDb8If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1zn5mdfbZZ3Z9OQoJgr6E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Uo9lzntFJ5oc__tSsRWQ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9eFIf_UxQs7lCQUfeu8UT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be_Q7249x8_4Nqe6Qpui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94glfz89oycAHWJTX5Mb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RuZDH5aS5O5nVip3EN4RO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qFsRwE7gDJPYc7tfupx6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C9xwCbiBLjFJ9Bfye5WK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wYc7XHJ5VMci3cyRQ_pX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jGRUtivHpX7VACcUV3O9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uZy1SzfDONe3iccMwgU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Dd20HG7tRn4h.s08Je0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h7wS_pmrsuZ8G39YBaC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mO7IpezlkBNEdD77K3q4f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MEwZz0kdO4TsHdPRw8.OW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a61ucd8TMbrj6wtWT.9C2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5gKanciQZBcFD91MaD4x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iUQxK5fP7gtmWPX._a9q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GUTCfLT2oTV8Dy0Injos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NrNP3bEzd7NFCWak8zjz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2EQJ3JfdsywsbMZ.K4jRq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S3rg56KSxFXFL2h1q3Yg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0DTLHHxoul3kEtTTZ0T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cLruc5RNGzGenWwO5qbZc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mUQVOmYDPBdaWmko6iuP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_4efh1vu8eHzBGI7Pkb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qc_RSOLa0zt6UaUWd.yx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_cuf5AM3MQCdUvp8v8NDQ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yvlWSTUimE0DldqmPAF6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p4uJ1pRU1VlR.my_vpl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W6xBaCkTKwufV7.QJp3l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de1GTpyVz08fwOMfh7r5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UodyFQ.C706pZip76_Yiz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cqlRuUYK13hqpV19B_oO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trjSpwpJQs.lB0YFlNpaF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axxl5im.NUSTNddDUADyM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ysJnBp9si_2rXVBzmin86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UG5dTf_LOF5zYqW3Kcmy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BDPXqr4BZSWtq6mHApuX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mOx.xOrLYFwuxkBFmiuNF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UkJWAzmBe2grUlQbON4T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eZpTmsSHuKrqS2ndTWU_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Zb6tn6DaDvwKEqKMShA0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oArRVVvAPmvQ2CdzuFXw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K2hONWBuh2tntqMcCH6bQ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ebrXtuXgsD1tNbMDXkciN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weLQW0o8vqHlctn6leXpC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UyHK0vQe2J1Muz5jKlUJP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_Hwlo4H5P0f36Mp1OQaT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Wu3dmE8ZTruNv3Lv.2.4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qxbQBYEquA2u1njkWV8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k6TkOgl1gDlF19QB7JNO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WciHzHvejZb7QNkJuvEU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x0vjeegz3cwivHd9vIdhw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LjD9bOkx2P2Oc0uHfdKTr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LIa_275aSsbq4ltuG0cqG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UULs8YxhwP4e66BpxWLMe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m0Y31atnP.b2XDrYX2w7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_WOr9oW9WArOekj5fJ2pe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phmusYrlgdxceXrL7Oo0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SrHT0mxaAgq81Sekovw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PhqeHX16n9kI_jHEziJ9m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UUbSwTITS6IUwIMCZtRx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iQ_HeVerh178cQUmyiIte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KhpgveItl9j_4wTLtzlJJ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jLhOpMak6xKx3369p8B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1WQtjkXhH.gbe1Pvf0JjN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XYHT18LjCX_Pkwy5SK5uk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2hONWBuh2tntqMcCH6bQ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4WtkGM5I11tjRdWNpGpE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A5hYk_eUBauk9QgLOOCQ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F_ZlOv1ukyUlVTCAL9ud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wB8zAiETIfSgzbThej57q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yP3Ia1mywPMJV1C7H_KA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ti21aWHYw.CiUXAafFUe5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WWciHzHvejZb7QNkJuvEU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jD9bOkx2P2Oc0uHfdKTr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IDiHpeHiobE2Ajbk82.2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ULs8YxhwP4e66BpxWLMe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_WOr9oW9WArOekj5fJ2pe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phmusYrlgdxceXrL7Oo0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x2LgqsguoHAzdCr.QxFx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S2l0oGzkywgxbZ5IlG43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GQW7e.3H3SluJGarnr8ed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jLhOpMak6xKx3369p8BO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1WQtjkXhH.gbe1Pvf0JjN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XYHT18LjCX_Pkwy5SK5uk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2hONWBuh2tntqMcCH6bQ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4WtkGM5I11tjRdWNpGpEt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Eeklhnt272yiTC_re4a3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vNEfr50A98GZZUy3Y4oO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3Fq07ekVdAhoc_zgKObAR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WciHzHvejZb7QNkJuvEU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iDWGYL3pf9u10_ni8t0x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x0vjeegz3cwivHd9vIdhw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jD9bOkx2P2Oc0uHfdKT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Ia_275aSsbq4ltuG0cqG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UULs8YxhwP4e66BpxWLMe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m0Y31atnP.b2XDrYX2w7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_WOr9oW9WArOekj5fJ2pe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phmusYrlgdxceXrL7Oo0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SUFKzH0fT6U0NQbP0rjh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PhqeHX16n9kI_jHEziJ9m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QW7e.3H3SluJGarnr8ed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ESt6H6_PHWfNNK5GlyCaC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NXMwmPFzlsoQH1AmzyDr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PkJu_XZI1AAZ6udfMBmvl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re0sHRGbxkLJLmO_e6Ew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0Wc5DQJBVACuaxYRHcyzm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anM3.FpP.2EYrnaBXbEvA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7aXS19Yd9f4weg3CpFo67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Bja0QMv84AG9NTGYxPVc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LlDQtmmz2jy_zsuSzSap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K1xk8jycgoXTbk90tbrUA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ijLhOpMak6xKx3369p8BO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tMecuXpgDaw6cYjjp22MG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Ad0z.IdCB6wABgsv7h81J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9Q.RBFUdYde8h6vhNutYp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1WQtjkXhH.gbe1Pvf0JjN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YHT18LjCX_Pkwy5SK5uk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gpZyG8hDCPrPV0zWAH9I2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K2hONWBuh2tntqMcCH6bQ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PtvgTDP.kb6K115no66g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Y8ryV71.n_26lJ_cEwEnl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0dss0OjavfnwH0_E9WhBV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LjD9bOkx2P2Oc0uHfdKTr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LIa_275aSsbq4ltuG0cqG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djgzhEfHWcYePWdIfbKs6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_WOr9oW9WArOekj5fJ2pe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m0Y31atnP.b2XDrYX2w7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UULs8YxhwP4e66BpxWLMe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phmusYrlgdxceXrL7Oo0S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mfG2zaINidxPybL7lfiK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SSHxS0OCZCUnSG3cAeS9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PhqeHX16n9kI_jHEziJ9m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2r7Jh8iylAyhJ2X.c_DNW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jLhOpMak6xKx3369p8BO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tMecuXpgDaw6cYjjp22M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9Q.RBFUdYde8h6vhNutYp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d0z.IdCB6wABgsv7h81J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1WQtjkXhH.gbe1Pvf0JjN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YHT18LjCX_Pkwy5SK5uk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gpZyG8hDCPrPV0zWAH9I2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grBgVyFzMbwT49lTacgd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f8YcL_B6rtE5CvpCbxGj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bEyIHxB6lcSrCXA1eKp2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wp_QWDppb8oj04duSJdL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hys70M66pHS2p7gDVOas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wp_QWDppb8oj04duSJdLa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p_QWDppb8oj04duSJdLa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lgZXX_kuFRY286vXpcf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kOaUvqoudaSjbJv66D2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uX.nLTGc4McmofoYLa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MefPGMY6QqomXQNtp._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DWbfZpRt_41HdQhXiCO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Vdaq5_bCFULUZHGhIvM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I_bUTp6thBD3Lc.s67a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Z5zM6QQbwGkrMi2UTf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8X5.0JNB__znaegxNv4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YiuPdtwr1348p0zbMVt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Dap2VesGXxyUg.RVJFS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mrBHIeUHrJzHdNrmBRr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geEsWuHejbU0N4sxNTF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7C4LdkjpEmEpZl.0.MD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tToXkFEy363VH3X8j5X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GGlfwqNCya4LrGy8Y21i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8X.8R.JcW9cGZWDO4P4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QceLzl8pzY2T2ZavVx5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jaS6WebrE3uBwdwG9Gp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UC4XljVx_QlUBu_pp0e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sSdO.Fo7TIh4xawyGun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5ZXZonuNq_hJCV5q2o0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egKJizLF6_1qukNwq1d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tDxznb_suHKzY8UYbdS1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DARhWF.7ULQmt7ecdy2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5c9wePvNEtXPSkhBEzx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7fABVygc6w_KGPe8fuIp_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yKGfuCMMFBv789Hslkqa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Fz_IwviX5cL9AnIs6u.B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AyeZFQqGEgOtTQlhdIj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iZnQX8n6Ul_iDR4.rtp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asmUSk51nCryP5I6E5S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o8XxBNj_P.sHl03h2OS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xjMglv4irTqbfZxz0fO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lEd4W0aPOdO3_QunOKNE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mZIapoUvAv7voxyjjDAp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ier.3RPdly2imkV7FTek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IvKu1bWNNOln1RNgcyKn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47PpTFBqWp07p5jfmOM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bAU89yX5mldyb82T6iC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QA43NS9kb448BVZ.HMo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P7iBVFI7fzlkygPYYNk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KXqqKa_df8PvmXfo0tN9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fLiOzqALbg607MG6zjJx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h5pFIhExw7tg8qyU5Zn1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lmWbQHd1qAADApZ_OS9w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ceh1V_rP3Q5k4DaNdlP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tUNDkv4MCqF3vEjQO5bf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YJS_zCrF574p1bZWNaW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BLKkdaNxBLcmbeMp4DS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mwlSw6hQp2RdH94TAtJo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g2m5IdPuzulDdqSVe5X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lBW0.s6aTofW7EQop4p1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fFtl.8mmku0hWgW_AKQS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uqyh9YjUTx5nkGWiBL8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Q92fIlbt.iQr7vt6OqQ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doVu7PyU_jWshLWDXj3S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rqapWZNuxN4_0JE7W.O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i8DHnJ9KcccdKNkNpeM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GFuu38JJ25xSxHnFJvkA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5QqZc90VxJWoOWROQJX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x4XpanwLLdheqidKG.YPg"/>
</p:tagLst>
</file>

<file path=ppt/theme/theme1.xml><?xml version="1.0" encoding="utf-8"?>
<a:theme xmlns:a="http://schemas.openxmlformats.org/drawingml/2006/main" name="Hypatos-theme">
  <a:themeElements>
    <a:clrScheme name="Hypatos">
      <a:dk1>
        <a:srgbClr val="030436"/>
      </a:dk1>
      <a:lt1>
        <a:srgbClr val="FFFFFF"/>
      </a:lt1>
      <a:dk2>
        <a:srgbClr val="0038D5"/>
      </a:dk2>
      <a:lt2>
        <a:srgbClr val="F7F9FF"/>
      </a:lt2>
      <a:accent1>
        <a:srgbClr val="030436"/>
      </a:accent1>
      <a:accent2>
        <a:srgbClr val="0038D5"/>
      </a:accent2>
      <a:accent3>
        <a:srgbClr val="F7F9FF"/>
      </a:accent3>
      <a:accent4>
        <a:srgbClr val="FF0050"/>
      </a:accent4>
      <a:accent5>
        <a:srgbClr val="7197FF"/>
      </a:accent5>
      <a:accent6>
        <a:srgbClr val="FFE38A"/>
      </a:accent6>
      <a:hlink>
        <a:srgbClr val="43C7A1"/>
      </a:hlink>
      <a:folHlink>
        <a:srgbClr val="43C7A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a:solidFill>
              <a:schemeClr val="bg1">
                <a:lumMod val="50000"/>
              </a:schemeClr>
            </a:solidFill>
            <a:latin typeface="Open Sauce One"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41D480877BA4048A9D91342E163CE04" ma:contentTypeVersion="18" ma:contentTypeDescription="Create a new document." ma:contentTypeScope="" ma:versionID="a44a9fe7ae61d9789cef6348c37c692f">
  <xsd:schema xmlns:xsd="http://www.w3.org/2001/XMLSchema" xmlns:xs="http://www.w3.org/2001/XMLSchema" xmlns:p="http://schemas.microsoft.com/office/2006/metadata/properties" xmlns:ns2="2d57a97e-bf0b-4cec-a587-841817f75a75" xmlns:ns3="d57067be-9d14-4795-a8ab-0027d10e2a03" targetNamespace="http://schemas.microsoft.com/office/2006/metadata/properties" ma:root="true" ma:fieldsID="6ca95eae8ed1bc77ef0c7305f1f4104a" ns2:_="" ns3:_="">
    <xsd:import namespace="2d57a97e-bf0b-4cec-a587-841817f75a75"/>
    <xsd:import namespace="d57067be-9d14-4795-a8ab-0027d10e2a0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57a97e-bf0b-4cec-a587-841817f75a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dcac98fe-d733-4e69-82d2-f2b57074612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7067be-9d14-4795-a8ab-0027d10e2a0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9984ec3-4967-4aa6-95d4-7574c46fc649}" ma:internalName="TaxCatchAll" ma:showField="CatchAllData" ma:web="d57067be-9d14-4795-a8ab-0027d10e2a0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d57a97e-bf0b-4cec-a587-841817f75a75">
      <Terms xmlns="http://schemas.microsoft.com/office/infopath/2007/PartnerControls"/>
    </lcf76f155ced4ddcb4097134ff3c332f>
    <TaxCatchAll xmlns="d57067be-9d14-4795-a8ab-0027d10e2a03" xsi:nil="true"/>
  </documentManagement>
</p:properties>
</file>

<file path=customXml/itemProps1.xml><?xml version="1.0" encoding="utf-8"?>
<ds:datastoreItem xmlns:ds="http://schemas.openxmlformats.org/officeDocument/2006/customXml" ds:itemID="{D3C0FC9C-3F7D-41A3-9A88-5048D447D374}">
  <ds:schemaRefs>
    <ds:schemaRef ds:uri="http://schemas.microsoft.com/sharepoint/v3/contenttype/forms"/>
  </ds:schemaRefs>
</ds:datastoreItem>
</file>

<file path=customXml/itemProps2.xml><?xml version="1.0" encoding="utf-8"?>
<ds:datastoreItem xmlns:ds="http://schemas.openxmlformats.org/officeDocument/2006/customXml" ds:itemID="{29A12CD9-1060-4905-ABBB-CDAB26DD22FC}">
  <ds:schemaRefs>
    <ds:schemaRef ds:uri="2d57a97e-bf0b-4cec-a587-841817f75a75"/>
    <ds:schemaRef ds:uri="d57067be-9d14-4795-a8ab-0027d10e2a0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AD2F3AC-88EC-420A-9944-99471C836986}">
  <ds:schemaRefs>
    <ds:schemaRef ds:uri="2d57a97e-bf0b-4cec-a587-841817f75a75"/>
    <ds:schemaRef ds:uri="d57067be-9d14-4795-a8ab-0027d10e2a0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Integral</Template>
  <TotalTime>0</TotalTime>
  <Words>4026</Words>
  <Application>Microsoft Office PowerPoint</Application>
  <PresentationFormat>Widescreen</PresentationFormat>
  <Paragraphs>1011</Paragraphs>
  <Slides>50</Slides>
  <Notes>9</Notes>
  <HiddenSlides>39</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7" baseType="lpstr">
      <vt:lpstr>Arial</vt:lpstr>
      <vt:lpstr>Calibri</vt:lpstr>
      <vt:lpstr>Lato</vt:lpstr>
      <vt:lpstr>Open Sauce One</vt:lpstr>
      <vt:lpstr>Wingdings</vt:lpstr>
      <vt:lpstr>Hypatos-theme</vt:lpstr>
      <vt:lpstr>think-cell Slide</vt:lpstr>
      <vt:lpstr>Digital Invoice Capture</vt:lpstr>
      <vt:lpstr>Agenda</vt:lpstr>
      <vt:lpstr>Actions neither related with Risks nor with JIRA Stories</vt:lpstr>
      <vt:lpstr>Risks – Focus on Open / In Response</vt:lpstr>
      <vt:lpstr>Issues</vt:lpstr>
      <vt:lpstr>Decisions</vt:lpstr>
      <vt:lpstr>Agenda</vt:lpstr>
      <vt:lpstr>Weekly Report – CW51 (December 20)</vt:lpstr>
      <vt:lpstr>Our anticipated join project timeline is targeting a go-live until end of Feb 2024</vt:lpstr>
      <vt:lpstr>Agenda</vt:lpstr>
      <vt:lpstr>Thank you</vt:lpstr>
      <vt:lpstr>Achieving 90% - 95% header data capture accuracy for incoming invoices without manual verification (Pilot Scope)</vt:lpstr>
      <vt:lpstr>Achieving &gt;80% PO Line item data capture accuracy for incoming invoices without manual verification (Pilot Scope)</vt:lpstr>
      <vt:lpstr>Updated Document Routing Flow </vt:lpstr>
      <vt:lpstr>Achieving 90% - 95% Non-PO header data capture accuracy for incoming invoices without manual verification (Pilot Scope)</vt:lpstr>
      <vt:lpstr>Achieving 90% - 95% PO header data capture accuracy for incoming invoices without manual verification (Pilot Scop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lors</vt:lpstr>
      <vt:lpstr>Elements</vt:lpstr>
      <vt:lpstr>Logos</vt:lpstr>
      <vt:lpstr>Product Logos</vt:lpstr>
      <vt:lpstr>Icons</vt:lpstr>
      <vt:lpstr>Table style 1</vt:lpstr>
      <vt:lpstr>Table style 1</vt:lpstr>
      <vt:lpstr>Table style 2</vt:lpstr>
      <vt:lpstr>Laptop mockup</vt:lpstr>
      <vt:lpstr>Chart style</vt:lpstr>
      <vt:lpstr>Agenda</vt:lpstr>
      <vt:lpstr>PowerPoint Presentation</vt:lpstr>
      <vt:lpstr>Finance Autonomous Maturity Index</vt:lpstr>
      <vt:lpstr>Finance Autonomous Maturity Index</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P x HY 2023 Model Performance Report</dc:title>
  <dc:creator>Microsoft Office User</dc:creator>
  <cp:lastModifiedBy>Leticia Silva</cp:lastModifiedBy>
  <cp:revision>1</cp:revision>
  <dcterms:created xsi:type="dcterms:W3CDTF">2023-03-02T14:07:47Z</dcterms:created>
  <dcterms:modified xsi:type="dcterms:W3CDTF">2023-12-20T17:5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1D480877BA4048A9D91342E163CE04</vt:lpwstr>
  </property>
  <property fmtid="{D5CDD505-2E9C-101B-9397-08002B2CF9AE}" pid="3" name="MediaServiceImageTags">
    <vt:lpwstr/>
  </property>
</Properties>
</file>